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4"/>
    <p:sldMasterId id="2147483666" r:id="rId5"/>
    <p:sldMasterId id="2147483679" r:id="rId6"/>
  </p:sldMasterIdLst>
  <p:notesMasterIdLst>
    <p:notesMasterId r:id="rId15"/>
  </p:notesMasterIdLst>
  <p:sldIdLst>
    <p:sldId id="4018" r:id="rId7"/>
    <p:sldId id="4036" r:id="rId8"/>
    <p:sldId id="4037" r:id="rId9"/>
    <p:sldId id="4021" r:id="rId10"/>
    <p:sldId id="4033" r:id="rId11"/>
    <p:sldId id="4034" r:id="rId12"/>
    <p:sldId id="4032" r:id="rId13"/>
    <p:sldId id="259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nette Smit" initials="JS" lastIdx="1" clrIdx="0">
    <p:extLst>
      <p:ext uri="{19B8F6BF-5375-455C-9EA6-DF929625EA0E}">
        <p15:presenceInfo xmlns:p15="http://schemas.microsoft.com/office/powerpoint/2012/main" userId="S-1-5-21-2224308663-43837995-856700667-57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99"/>
    <a:srgbClr val="004C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FD922B1-B742-445B-96A9-779274461814}" v="1" dt="2023-11-27T19:44:09.7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26" autoAdjust="0"/>
    <p:restoredTop sz="93969" autoAdjust="0"/>
  </p:normalViewPr>
  <p:slideViewPr>
    <p:cSldViewPr snapToGrid="0" snapToObjects="1">
      <p:cViewPr varScale="1">
        <p:scale>
          <a:sx n="67" d="100"/>
          <a:sy n="67" d="100"/>
        </p:scale>
        <p:origin x="648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svg"/><Relationship Id="rId1" Type="http://schemas.openxmlformats.org/officeDocument/2006/relationships/image" Target="../media/image14.png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svg"/><Relationship Id="rId1" Type="http://schemas.openxmlformats.org/officeDocument/2006/relationships/image" Target="../media/image25.png"/><Relationship Id="rId4" Type="http://schemas.openxmlformats.org/officeDocument/2006/relationships/image" Target="../media/image28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svg"/><Relationship Id="rId1" Type="http://schemas.openxmlformats.org/officeDocument/2006/relationships/image" Target="../media/image14.png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svg"/><Relationship Id="rId1" Type="http://schemas.openxmlformats.org/officeDocument/2006/relationships/image" Target="../media/image25.png"/><Relationship Id="rId4" Type="http://schemas.openxmlformats.org/officeDocument/2006/relationships/image" Target="../media/image2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FC44E0-01F3-4A5B-9B7C-9548A2F7C12D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82E96EC-5455-48FA-917C-609F1D32EC07}">
      <dgm:prSet custT="1"/>
      <dgm:spPr/>
      <dgm:t>
        <a:bodyPr/>
        <a:lstStyle/>
        <a:p>
          <a:r>
            <a:rPr lang="en-ZA" sz="1800" dirty="0"/>
            <a:t>Elimination of manual process</a:t>
          </a:r>
          <a:endParaRPr lang="en-US" sz="1800" dirty="0"/>
        </a:p>
      </dgm:t>
    </dgm:pt>
    <dgm:pt modelId="{F4EB11D5-8E64-4803-A14E-F9C84B9EC613}" type="parTrans" cxnId="{CA8329DE-1BE7-4AF8-BED5-C0DC08109FE6}">
      <dgm:prSet/>
      <dgm:spPr/>
      <dgm:t>
        <a:bodyPr/>
        <a:lstStyle/>
        <a:p>
          <a:endParaRPr lang="en-US"/>
        </a:p>
      </dgm:t>
    </dgm:pt>
    <dgm:pt modelId="{5D13FF1A-A05B-4D66-BFE5-F2F6A59F301A}" type="sibTrans" cxnId="{CA8329DE-1BE7-4AF8-BED5-C0DC08109FE6}">
      <dgm:prSet/>
      <dgm:spPr/>
      <dgm:t>
        <a:bodyPr/>
        <a:lstStyle/>
        <a:p>
          <a:endParaRPr lang="en-US"/>
        </a:p>
      </dgm:t>
    </dgm:pt>
    <dgm:pt modelId="{9CF71FB2-C0FF-492F-A53B-56713CAD8880}">
      <dgm:prSet custT="1"/>
      <dgm:spPr/>
      <dgm:t>
        <a:bodyPr/>
        <a:lstStyle/>
        <a:p>
          <a:r>
            <a:rPr lang="en-ZA" sz="1800" dirty="0"/>
            <a:t>Electronic Submission</a:t>
          </a:r>
          <a:endParaRPr lang="en-US" sz="1800" dirty="0"/>
        </a:p>
      </dgm:t>
    </dgm:pt>
    <dgm:pt modelId="{F6DAD63B-41D9-4C9F-BA1B-92412678B473}" type="parTrans" cxnId="{8909A643-B4F0-4407-A225-EDFC256753BE}">
      <dgm:prSet/>
      <dgm:spPr/>
      <dgm:t>
        <a:bodyPr/>
        <a:lstStyle/>
        <a:p>
          <a:endParaRPr lang="en-US"/>
        </a:p>
      </dgm:t>
    </dgm:pt>
    <dgm:pt modelId="{1ED8B7C6-EB7D-4445-990F-15CD985679EF}" type="sibTrans" cxnId="{8909A643-B4F0-4407-A225-EDFC256753BE}">
      <dgm:prSet/>
      <dgm:spPr/>
      <dgm:t>
        <a:bodyPr/>
        <a:lstStyle/>
        <a:p>
          <a:endParaRPr lang="en-US"/>
        </a:p>
      </dgm:t>
    </dgm:pt>
    <dgm:pt modelId="{73BFF554-2C83-463B-9FB1-808EF166887D}">
      <dgm:prSet custT="1"/>
      <dgm:spPr/>
      <dgm:t>
        <a:bodyPr/>
        <a:lstStyle/>
        <a:p>
          <a:r>
            <a:rPr lang="en-ZA" sz="1800" dirty="0"/>
            <a:t>Simpler Process</a:t>
          </a:r>
          <a:endParaRPr lang="en-US" sz="1800" dirty="0"/>
        </a:p>
      </dgm:t>
    </dgm:pt>
    <dgm:pt modelId="{1AA28090-69D8-4A8D-9B73-7A44F6F81396}" type="parTrans" cxnId="{460EB918-C85E-4D0F-935D-5BB7CB411679}">
      <dgm:prSet/>
      <dgm:spPr/>
      <dgm:t>
        <a:bodyPr/>
        <a:lstStyle/>
        <a:p>
          <a:endParaRPr lang="en-US"/>
        </a:p>
      </dgm:t>
    </dgm:pt>
    <dgm:pt modelId="{7DCEDA93-F094-4E7C-B9A9-FE07ACAF4E8B}" type="sibTrans" cxnId="{460EB918-C85E-4D0F-935D-5BB7CB411679}">
      <dgm:prSet/>
      <dgm:spPr/>
      <dgm:t>
        <a:bodyPr/>
        <a:lstStyle/>
        <a:p>
          <a:endParaRPr lang="en-US"/>
        </a:p>
      </dgm:t>
    </dgm:pt>
    <dgm:pt modelId="{32A7F17D-4D85-4F31-BAA4-13733B29EC03}">
      <dgm:prSet custT="1"/>
      <dgm:spPr/>
      <dgm:t>
        <a:bodyPr/>
        <a:lstStyle/>
        <a:p>
          <a:r>
            <a:rPr lang="en-ZA" sz="1800" dirty="0"/>
            <a:t>Dashboard Functionality</a:t>
          </a:r>
          <a:endParaRPr lang="en-US" sz="1800" dirty="0"/>
        </a:p>
      </dgm:t>
    </dgm:pt>
    <dgm:pt modelId="{5AC081D1-00A9-4F66-A331-22594950BFD6}" type="parTrans" cxnId="{813F6236-1F50-4190-95AF-1C2D8CFAE9FF}">
      <dgm:prSet/>
      <dgm:spPr/>
      <dgm:t>
        <a:bodyPr/>
        <a:lstStyle/>
        <a:p>
          <a:endParaRPr lang="en-US"/>
        </a:p>
      </dgm:t>
    </dgm:pt>
    <dgm:pt modelId="{C781CCD4-0A74-4040-8E29-1436A3ED4A33}" type="sibTrans" cxnId="{813F6236-1F50-4190-95AF-1C2D8CFAE9FF}">
      <dgm:prSet/>
      <dgm:spPr/>
      <dgm:t>
        <a:bodyPr/>
        <a:lstStyle/>
        <a:p>
          <a:endParaRPr lang="en-US"/>
        </a:p>
      </dgm:t>
    </dgm:pt>
    <dgm:pt modelId="{C851BEC0-D382-459C-9590-316699619A65}">
      <dgm:prSet custT="1"/>
      <dgm:spPr/>
      <dgm:t>
        <a:bodyPr/>
        <a:lstStyle/>
        <a:p>
          <a:r>
            <a:rPr lang="en-ZA" sz="1800" dirty="0"/>
            <a:t>Automated Notifications</a:t>
          </a:r>
          <a:endParaRPr lang="en-US" sz="1800" dirty="0"/>
        </a:p>
      </dgm:t>
    </dgm:pt>
    <dgm:pt modelId="{251B8970-B5CC-4E74-9E09-34DFF37F076C}" type="parTrans" cxnId="{932527B3-13A3-4318-AF11-D5A0C10BD321}">
      <dgm:prSet/>
      <dgm:spPr/>
      <dgm:t>
        <a:bodyPr/>
        <a:lstStyle/>
        <a:p>
          <a:endParaRPr lang="en-US"/>
        </a:p>
      </dgm:t>
    </dgm:pt>
    <dgm:pt modelId="{DF5319B3-8207-4616-A3EB-C0746EA38FD6}" type="sibTrans" cxnId="{932527B3-13A3-4318-AF11-D5A0C10BD321}">
      <dgm:prSet/>
      <dgm:spPr/>
      <dgm:t>
        <a:bodyPr/>
        <a:lstStyle/>
        <a:p>
          <a:endParaRPr lang="en-US"/>
        </a:p>
      </dgm:t>
    </dgm:pt>
    <dgm:pt modelId="{4194BD1F-34CA-4240-8729-17FB75E1F405}" type="pres">
      <dgm:prSet presAssocID="{F7FC44E0-01F3-4A5B-9B7C-9548A2F7C12D}" presName="root" presStyleCnt="0">
        <dgm:presLayoutVars>
          <dgm:dir/>
          <dgm:resizeHandles val="exact"/>
        </dgm:presLayoutVars>
      </dgm:prSet>
      <dgm:spPr/>
    </dgm:pt>
    <dgm:pt modelId="{388402DA-28F8-4AA2-95AD-8E174BDF5ACC}" type="pres">
      <dgm:prSet presAssocID="{682E96EC-5455-48FA-917C-609F1D32EC07}" presName="compNode" presStyleCnt="0"/>
      <dgm:spPr/>
    </dgm:pt>
    <dgm:pt modelId="{C4748E9B-C33C-42C0-94D9-1FCB8EB02CC9}" type="pres">
      <dgm:prSet presAssocID="{682E96EC-5455-48FA-917C-609F1D32EC07}" presName="bgRect" presStyleLbl="bgShp" presStyleIdx="0" presStyleCnt="5"/>
      <dgm:spPr/>
    </dgm:pt>
    <dgm:pt modelId="{61B795D1-EC66-4C2D-A928-FF8A2C973331}" type="pres">
      <dgm:prSet presAssocID="{682E96EC-5455-48FA-917C-609F1D32EC07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"/>
        </a:ext>
      </dgm:extLst>
    </dgm:pt>
    <dgm:pt modelId="{F29620BD-2E92-4B42-852C-8C67672F6820}" type="pres">
      <dgm:prSet presAssocID="{682E96EC-5455-48FA-917C-609F1D32EC07}" presName="spaceRect" presStyleCnt="0"/>
      <dgm:spPr/>
    </dgm:pt>
    <dgm:pt modelId="{83B7A319-A1E2-49F2-A922-CECCB422CF88}" type="pres">
      <dgm:prSet presAssocID="{682E96EC-5455-48FA-917C-609F1D32EC07}" presName="parTx" presStyleLbl="revTx" presStyleIdx="0" presStyleCnt="5">
        <dgm:presLayoutVars>
          <dgm:chMax val="0"/>
          <dgm:chPref val="0"/>
        </dgm:presLayoutVars>
      </dgm:prSet>
      <dgm:spPr/>
    </dgm:pt>
    <dgm:pt modelId="{C159714F-C287-407F-A176-A9AE06BD923E}" type="pres">
      <dgm:prSet presAssocID="{5D13FF1A-A05B-4D66-BFE5-F2F6A59F301A}" presName="sibTrans" presStyleCnt="0"/>
      <dgm:spPr/>
    </dgm:pt>
    <dgm:pt modelId="{02404951-0E18-4B06-99E1-AFE8C3A6C9B5}" type="pres">
      <dgm:prSet presAssocID="{9CF71FB2-C0FF-492F-A53B-56713CAD8880}" presName="compNode" presStyleCnt="0"/>
      <dgm:spPr/>
    </dgm:pt>
    <dgm:pt modelId="{437730AC-9462-4E9F-AA9B-905BDEB8267D}" type="pres">
      <dgm:prSet presAssocID="{9CF71FB2-C0FF-492F-A53B-56713CAD8880}" presName="bgRect" presStyleLbl="bgShp" presStyleIdx="1" presStyleCnt="5"/>
      <dgm:spPr/>
    </dgm:pt>
    <dgm:pt modelId="{9935F8B1-FB15-44F4-A705-CFFF56C86FBF}" type="pres">
      <dgm:prSet presAssocID="{9CF71FB2-C0FF-492F-A53B-56713CAD8880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omputer"/>
        </a:ext>
      </dgm:extLst>
    </dgm:pt>
    <dgm:pt modelId="{B7571B9D-5C4E-472D-9610-80805277DCC6}" type="pres">
      <dgm:prSet presAssocID="{9CF71FB2-C0FF-492F-A53B-56713CAD8880}" presName="spaceRect" presStyleCnt="0"/>
      <dgm:spPr/>
    </dgm:pt>
    <dgm:pt modelId="{57C167A5-1A84-4935-9872-77C4BCF2E9AB}" type="pres">
      <dgm:prSet presAssocID="{9CF71FB2-C0FF-492F-A53B-56713CAD8880}" presName="parTx" presStyleLbl="revTx" presStyleIdx="1" presStyleCnt="5">
        <dgm:presLayoutVars>
          <dgm:chMax val="0"/>
          <dgm:chPref val="0"/>
        </dgm:presLayoutVars>
      </dgm:prSet>
      <dgm:spPr/>
    </dgm:pt>
    <dgm:pt modelId="{E87539BE-85D5-4D10-B39F-5B525809C1D9}" type="pres">
      <dgm:prSet presAssocID="{1ED8B7C6-EB7D-4445-990F-15CD985679EF}" presName="sibTrans" presStyleCnt="0"/>
      <dgm:spPr/>
    </dgm:pt>
    <dgm:pt modelId="{5E72D2C0-D58C-4D1E-AAE5-CCC5B083E2EF}" type="pres">
      <dgm:prSet presAssocID="{73BFF554-2C83-463B-9FB1-808EF166887D}" presName="compNode" presStyleCnt="0"/>
      <dgm:spPr/>
    </dgm:pt>
    <dgm:pt modelId="{B435B114-4DAD-46C4-8C7F-40377F4D22F2}" type="pres">
      <dgm:prSet presAssocID="{73BFF554-2C83-463B-9FB1-808EF166887D}" presName="bgRect" presStyleLbl="bgShp" presStyleIdx="2" presStyleCnt="5"/>
      <dgm:spPr/>
    </dgm:pt>
    <dgm:pt modelId="{23E2A57D-A2E9-4F31-B219-12160F8FC80A}" type="pres">
      <dgm:prSet presAssocID="{73BFF554-2C83-463B-9FB1-808EF166887D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346292A2-0665-4AB2-A206-55EFAD103241}" type="pres">
      <dgm:prSet presAssocID="{73BFF554-2C83-463B-9FB1-808EF166887D}" presName="spaceRect" presStyleCnt="0"/>
      <dgm:spPr/>
    </dgm:pt>
    <dgm:pt modelId="{E3C89385-A5A3-48F6-8708-401235C6C8CE}" type="pres">
      <dgm:prSet presAssocID="{73BFF554-2C83-463B-9FB1-808EF166887D}" presName="parTx" presStyleLbl="revTx" presStyleIdx="2" presStyleCnt="5">
        <dgm:presLayoutVars>
          <dgm:chMax val="0"/>
          <dgm:chPref val="0"/>
        </dgm:presLayoutVars>
      </dgm:prSet>
      <dgm:spPr/>
    </dgm:pt>
    <dgm:pt modelId="{48D01EAB-6110-4138-B2E7-FEB291471E08}" type="pres">
      <dgm:prSet presAssocID="{7DCEDA93-F094-4E7C-B9A9-FE07ACAF4E8B}" presName="sibTrans" presStyleCnt="0"/>
      <dgm:spPr/>
    </dgm:pt>
    <dgm:pt modelId="{D8AF16A8-441E-497B-A6A0-3EC2E1DA2A88}" type="pres">
      <dgm:prSet presAssocID="{32A7F17D-4D85-4F31-BAA4-13733B29EC03}" presName="compNode" presStyleCnt="0"/>
      <dgm:spPr/>
    </dgm:pt>
    <dgm:pt modelId="{9F493846-F2A5-405E-A6BA-1CFFA39A98E5}" type="pres">
      <dgm:prSet presAssocID="{32A7F17D-4D85-4F31-BAA4-13733B29EC03}" presName="bgRect" presStyleLbl="bgShp" presStyleIdx="3" presStyleCnt="5"/>
      <dgm:spPr/>
    </dgm:pt>
    <dgm:pt modelId="{6078D32E-BB7F-486C-AC13-16D07D95A000}" type="pres">
      <dgm:prSet presAssocID="{32A7F17D-4D85-4F31-BAA4-13733B29EC03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656443C4-8C57-42A9-8872-6713EC50B98E}" type="pres">
      <dgm:prSet presAssocID="{32A7F17D-4D85-4F31-BAA4-13733B29EC03}" presName="spaceRect" presStyleCnt="0"/>
      <dgm:spPr/>
    </dgm:pt>
    <dgm:pt modelId="{724386C8-E242-4407-A346-A085F6BAAA9E}" type="pres">
      <dgm:prSet presAssocID="{32A7F17D-4D85-4F31-BAA4-13733B29EC03}" presName="parTx" presStyleLbl="revTx" presStyleIdx="3" presStyleCnt="5">
        <dgm:presLayoutVars>
          <dgm:chMax val="0"/>
          <dgm:chPref val="0"/>
        </dgm:presLayoutVars>
      </dgm:prSet>
      <dgm:spPr/>
    </dgm:pt>
    <dgm:pt modelId="{CE667364-7582-4F6F-A886-EF318A0447FF}" type="pres">
      <dgm:prSet presAssocID="{C781CCD4-0A74-4040-8E29-1436A3ED4A33}" presName="sibTrans" presStyleCnt="0"/>
      <dgm:spPr/>
    </dgm:pt>
    <dgm:pt modelId="{DB05E3A0-7BEA-4F1F-9D17-9BF83BDBEF2C}" type="pres">
      <dgm:prSet presAssocID="{C851BEC0-D382-459C-9590-316699619A65}" presName="compNode" presStyleCnt="0"/>
      <dgm:spPr/>
    </dgm:pt>
    <dgm:pt modelId="{B8571F72-F949-45B5-AF5B-D050F42DA5CC}" type="pres">
      <dgm:prSet presAssocID="{C851BEC0-D382-459C-9590-316699619A65}" presName="bgRect" presStyleLbl="bgShp" presStyleIdx="4" presStyleCnt="5"/>
      <dgm:spPr/>
    </dgm:pt>
    <dgm:pt modelId="{876E03CE-F60A-418D-9F74-C479BECF7DAC}" type="pres">
      <dgm:prSet presAssocID="{C851BEC0-D382-459C-9590-316699619A65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ell"/>
        </a:ext>
      </dgm:extLst>
    </dgm:pt>
    <dgm:pt modelId="{7BDF2234-7C86-4B3F-8840-08FE8E8F342F}" type="pres">
      <dgm:prSet presAssocID="{C851BEC0-D382-459C-9590-316699619A65}" presName="spaceRect" presStyleCnt="0"/>
      <dgm:spPr/>
    </dgm:pt>
    <dgm:pt modelId="{EF33E261-6C54-477C-A866-69B7C0958652}" type="pres">
      <dgm:prSet presAssocID="{C851BEC0-D382-459C-9590-316699619A65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460EB918-C85E-4D0F-935D-5BB7CB411679}" srcId="{F7FC44E0-01F3-4A5B-9B7C-9548A2F7C12D}" destId="{73BFF554-2C83-463B-9FB1-808EF166887D}" srcOrd="2" destOrd="0" parTransId="{1AA28090-69D8-4A8D-9B73-7A44F6F81396}" sibTransId="{7DCEDA93-F094-4E7C-B9A9-FE07ACAF4E8B}"/>
    <dgm:cxn modelId="{813F6236-1F50-4190-95AF-1C2D8CFAE9FF}" srcId="{F7FC44E0-01F3-4A5B-9B7C-9548A2F7C12D}" destId="{32A7F17D-4D85-4F31-BAA4-13733B29EC03}" srcOrd="3" destOrd="0" parTransId="{5AC081D1-00A9-4F66-A331-22594950BFD6}" sibTransId="{C781CCD4-0A74-4040-8E29-1436A3ED4A33}"/>
    <dgm:cxn modelId="{8909A643-B4F0-4407-A225-EDFC256753BE}" srcId="{F7FC44E0-01F3-4A5B-9B7C-9548A2F7C12D}" destId="{9CF71FB2-C0FF-492F-A53B-56713CAD8880}" srcOrd="1" destOrd="0" parTransId="{F6DAD63B-41D9-4C9F-BA1B-92412678B473}" sibTransId="{1ED8B7C6-EB7D-4445-990F-15CD985679EF}"/>
    <dgm:cxn modelId="{BA807459-1C6A-49FA-9423-462388C33553}" type="presOf" srcId="{682E96EC-5455-48FA-917C-609F1D32EC07}" destId="{83B7A319-A1E2-49F2-A922-CECCB422CF88}" srcOrd="0" destOrd="0" presId="urn:microsoft.com/office/officeart/2018/2/layout/IconVerticalSolidList"/>
    <dgm:cxn modelId="{003F2C85-878F-4492-8CCA-3570D2C26147}" type="presOf" srcId="{F7FC44E0-01F3-4A5B-9B7C-9548A2F7C12D}" destId="{4194BD1F-34CA-4240-8729-17FB75E1F405}" srcOrd="0" destOrd="0" presId="urn:microsoft.com/office/officeart/2018/2/layout/IconVerticalSolidList"/>
    <dgm:cxn modelId="{06FFA2A1-BF57-4795-B817-003D6DDD5D92}" type="presOf" srcId="{9CF71FB2-C0FF-492F-A53B-56713CAD8880}" destId="{57C167A5-1A84-4935-9872-77C4BCF2E9AB}" srcOrd="0" destOrd="0" presId="urn:microsoft.com/office/officeart/2018/2/layout/IconVerticalSolidList"/>
    <dgm:cxn modelId="{90692DB1-BF6D-42AC-AB38-1249C3A2111B}" type="presOf" srcId="{C851BEC0-D382-459C-9590-316699619A65}" destId="{EF33E261-6C54-477C-A866-69B7C0958652}" srcOrd="0" destOrd="0" presId="urn:microsoft.com/office/officeart/2018/2/layout/IconVerticalSolidList"/>
    <dgm:cxn modelId="{932527B3-13A3-4318-AF11-D5A0C10BD321}" srcId="{F7FC44E0-01F3-4A5B-9B7C-9548A2F7C12D}" destId="{C851BEC0-D382-459C-9590-316699619A65}" srcOrd="4" destOrd="0" parTransId="{251B8970-B5CC-4E74-9E09-34DFF37F076C}" sibTransId="{DF5319B3-8207-4616-A3EB-C0746EA38FD6}"/>
    <dgm:cxn modelId="{B94664D6-B084-47EB-A2BD-DE556F859223}" type="presOf" srcId="{32A7F17D-4D85-4F31-BAA4-13733B29EC03}" destId="{724386C8-E242-4407-A346-A085F6BAAA9E}" srcOrd="0" destOrd="0" presId="urn:microsoft.com/office/officeart/2018/2/layout/IconVerticalSolidList"/>
    <dgm:cxn modelId="{CA8329DE-1BE7-4AF8-BED5-C0DC08109FE6}" srcId="{F7FC44E0-01F3-4A5B-9B7C-9548A2F7C12D}" destId="{682E96EC-5455-48FA-917C-609F1D32EC07}" srcOrd="0" destOrd="0" parTransId="{F4EB11D5-8E64-4803-A14E-F9C84B9EC613}" sibTransId="{5D13FF1A-A05B-4D66-BFE5-F2F6A59F301A}"/>
    <dgm:cxn modelId="{CB4142EE-53DA-40BD-8A7E-FBF8C5BEFAC4}" type="presOf" srcId="{73BFF554-2C83-463B-9FB1-808EF166887D}" destId="{E3C89385-A5A3-48F6-8708-401235C6C8CE}" srcOrd="0" destOrd="0" presId="urn:microsoft.com/office/officeart/2018/2/layout/IconVerticalSolidList"/>
    <dgm:cxn modelId="{45706604-AFD4-434D-AE67-D885E818C2F0}" type="presParOf" srcId="{4194BD1F-34CA-4240-8729-17FB75E1F405}" destId="{388402DA-28F8-4AA2-95AD-8E174BDF5ACC}" srcOrd="0" destOrd="0" presId="urn:microsoft.com/office/officeart/2018/2/layout/IconVerticalSolidList"/>
    <dgm:cxn modelId="{FA1B54B7-FECB-4832-8535-79BC465BF34A}" type="presParOf" srcId="{388402DA-28F8-4AA2-95AD-8E174BDF5ACC}" destId="{C4748E9B-C33C-42C0-94D9-1FCB8EB02CC9}" srcOrd="0" destOrd="0" presId="urn:microsoft.com/office/officeart/2018/2/layout/IconVerticalSolidList"/>
    <dgm:cxn modelId="{2373C469-DFB8-49A6-A8ED-7B221753AC5D}" type="presParOf" srcId="{388402DA-28F8-4AA2-95AD-8E174BDF5ACC}" destId="{61B795D1-EC66-4C2D-A928-FF8A2C973331}" srcOrd="1" destOrd="0" presId="urn:microsoft.com/office/officeart/2018/2/layout/IconVerticalSolidList"/>
    <dgm:cxn modelId="{5814E722-9E25-4571-872E-41291DD26D3D}" type="presParOf" srcId="{388402DA-28F8-4AA2-95AD-8E174BDF5ACC}" destId="{F29620BD-2E92-4B42-852C-8C67672F6820}" srcOrd="2" destOrd="0" presId="urn:microsoft.com/office/officeart/2018/2/layout/IconVerticalSolidList"/>
    <dgm:cxn modelId="{D65716B5-B7C3-410E-B28F-901DC61D8DE7}" type="presParOf" srcId="{388402DA-28F8-4AA2-95AD-8E174BDF5ACC}" destId="{83B7A319-A1E2-49F2-A922-CECCB422CF88}" srcOrd="3" destOrd="0" presId="urn:microsoft.com/office/officeart/2018/2/layout/IconVerticalSolidList"/>
    <dgm:cxn modelId="{400A211A-179E-46C8-B781-E4D3863B395F}" type="presParOf" srcId="{4194BD1F-34CA-4240-8729-17FB75E1F405}" destId="{C159714F-C287-407F-A176-A9AE06BD923E}" srcOrd="1" destOrd="0" presId="urn:microsoft.com/office/officeart/2018/2/layout/IconVerticalSolidList"/>
    <dgm:cxn modelId="{E8419F5E-E1A1-46A6-B376-D09FC8EADF1F}" type="presParOf" srcId="{4194BD1F-34CA-4240-8729-17FB75E1F405}" destId="{02404951-0E18-4B06-99E1-AFE8C3A6C9B5}" srcOrd="2" destOrd="0" presId="urn:microsoft.com/office/officeart/2018/2/layout/IconVerticalSolidList"/>
    <dgm:cxn modelId="{EC9AABD6-44B0-4C67-BE24-26990F3C7FB0}" type="presParOf" srcId="{02404951-0E18-4B06-99E1-AFE8C3A6C9B5}" destId="{437730AC-9462-4E9F-AA9B-905BDEB8267D}" srcOrd="0" destOrd="0" presId="urn:microsoft.com/office/officeart/2018/2/layout/IconVerticalSolidList"/>
    <dgm:cxn modelId="{3FE94205-40DE-41FF-A662-D7CBE2D780A4}" type="presParOf" srcId="{02404951-0E18-4B06-99E1-AFE8C3A6C9B5}" destId="{9935F8B1-FB15-44F4-A705-CFFF56C86FBF}" srcOrd="1" destOrd="0" presId="urn:microsoft.com/office/officeart/2018/2/layout/IconVerticalSolidList"/>
    <dgm:cxn modelId="{434427D7-65ED-41D0-826A-6222F545292E}" type="presParOf" srcId="{02404951-0E18-4B06-99E1-AFE8C3A6C9B5}" destId="{B7571B9D-5C4E-472D-9610-80805277DCC6}" srcOrd="2" destOrd="0" presId="urn:microsoft.com/office/officeart/2018/2/layout/IconVerticalSolidList"/>
    <dgm:cxn modelId="{5B8BEFA4-7646-4B45-883B-B1344BA9FE13}" type="presParOf" srcId="{02404951-0E18-4B06-99E1-AFE8C3A6C9B5}" destId="{57C167A5-1A84-4935-9872-77C4BCF2E9AB}" srcOrd="3" destOrd="0" presId="urn:microsoft.com/office/officeart/2018/2/layout/IconVerticalSolidList"/>
    <dgm:cxn modelId="{8D757F82-6A2D-4EF6-82F6-F1D272D93EF7}" type="presParOf" srcId="{4194BD1F-34CA-4240-8729-17FB75E1F405}" destId="{E87539BE-85D5-4D10-B39F-5B525809C1D9}" srcOrd="3" destOrd="0" presId="urn:microsoft.com/office/officeart/2018/2/layout/IconVerticalSolidList"/>
    <dgm:cxn modelId="{37D7CFF6-2641-48B4-B0B9-3319424E9C08}" type="presParOf" srcId="{4194BD1F-34CA-4240-8729-17FB75E1F405}" destId="{5E72D2C0-D58C-4D1E-AAE5-CCC5B083E2EF}" srcOrd="4" destOrd="0" presId="urn:microsoft.com/office/officeart/2018/2/layout/IconVerticalSolidList"/>
    <dgm:cxn modelId="{714340CA-A76A-4533-AD83-8DAC3F673341}" type="presParOf" srcId="{5E72D2C0-D58C-4D1E-AAE5-CCC5B083E2EF}" destId="{B435B114-4DAD-46C4-8C7F-40377F4D22F2}" srcOrd="0" destOrd="0" presId="urn:microsoft.com/office/officeart/2018/2/layout/IconVerticalSolidList"/>
    <dgm:cxn modelId="{5309204E-28C8-44C4-BFA1-7A2766F84C4D}" type="presParOf" srcId="{5E72D2C0-D58C-4D1E-AAE5-CCC5B083E2EF}" destId="{23E2A57D-A2E9-4F31-B219-12160F8FC80A}" srcOrd="1" destOrd="0" presId="urn:microsoft.com/office/officeart/2018/2/layout/IconVerticalSolidList"/>
    <dgm:cxn modelId="{9E32B498-581A-4464-8F55-30E1C5A2D701}" type="presParOf" srcId="{5E72D2C0-D58C-4D1E-AAE5-CCC5B083E2EF}" destId="{346292A2-0665-4AB2-A206-55EFAD103241}" srcOrd="2" destOrd="0" presId="urn:microsoft.com/office/officeart/2018/2/layout/IconVerticalSolidList"/>
    <dgm:cxn modelId="{6013FED2-B1A4-4101-818E-95B1A6333B1E}" type="presParOf" srcId="{5E72D2C0-D58C-4D1E-AAE5-CCC5B083E2EF}" destId="{E3C89385-A5A3-48F6-8708-401235C6C8CE}" srcOrd="3" destOrd="0" presId="urn:microsoft.com/office/officeart/2018/2/layout/IconVerticalSolidList"/>
    <dgm:cxn modelId="{BE6ED518-77AF-46EA-B5D3-7B449CDA5416}" type="presParOf" srcId="{4194BD1F-34CA-4240-8729-17FB75E1F405}" destId="{48D01EAB-6110-4138-B2E7-FEB291471E08}" srcOrd="5" destOrd="0" presId="urn:microsoft.com/office/officeart/2018/2/layout/IconVerticalSolidList"/>
    <dgm:cxn modelId="{7386A11D-760B-4BB9-9778-C2EE76B4083E}" type="presParOf" srcId="{4194BD1F-34CA-4240-8729-17FB75E1F405}" destId="{D8AF16A8-441E-497B-A6A0-3EC2E1DA2A88}" srcOrd="6" destOrd="0" presId="urn:microsoft.com/office/officeart/2018/2/layout/IconVerticalSolidList"/>
    <dgm:cxn modelId="{9C1EE86A-1F5A-47C7-9B46-2129E647C3A8}" type="presParOf" srcId="{D8AF16A8-441E-497B-A6A0-3EC2E1DA2A88}" destId="{9F493846-F2A5-405E-A6BA-1CFFA39A98E5}" srcOrd="0" destOrd="0" presId="urn:microsoft.com/office/officeart/2018/2/layout/IconVerticalSolidList"/>
    <dgm:cxn modelId="{030E026D-2406-4D4F-89AD-89FC0FD59A61}" type="presParOf" srcId="{D8AF16A8-441E-497B-A6A0-3EC2E1DA2A88}" destId="{6078D32E-BB7F-486C-AC13-16D07D95A000}" srcOrd="1" destOrd="0" presId="urn:microsoft.com/office/officeart/2018/2/layout/IconVerticalSolidList"/>
    <dgm:cxn modelId="{0EB3AC58-7028-4CDE-839A-5F2CC7C644A4}" type="presParOf" srcId="{D8AF16A8-441E-497B-A6A0-3EC2E1DA2A88}" destId="{656443C4-8C57-42A9-8872-6713EC50B98E}" srcOrd="2" destOrd="0" presId="urn:microsoft.com/office/officeart/2018/2/layout/IconVerticalSolidList"/>
    <dgm:cxn modelId="{1D53B980-6D72-4071-AD00-A5B2FA473903}" type="presParOf" srcId="{D8AF16A8-441E-497B-A6A0-3EC2E1DA2A88}" destId="{724386C8-E242-4407-A346-A085F6BAAA9E}" srcOrd="3" destOrd="0" presId="urn:microsoft.com/office/officeart/2018/2/layout/IconVerticalSolidList"/>
    <dgm:cxn modelId="{C5CF3923-B2D2-484F-94A9-3E12F50687DB}" type="presParOf" srcId="{4194BD1F-34CA-4240-8729-17FB75E1F405}" destId="{CE667364-7582-4F6F-A886-EF318A0447FF}" srcOrd="7" destOrd="0" presId="urn:microsoft.com/office/officeart/2018/2/layout/IconVerticalSolidList"/>
    <dgm:cxn modelId="{EC60D499-87CE-4BE1-9484-C89D9E6C98D0}" type="presParOf" srcId="{4194BD1F-34CA-4240-8729-17FB75E1F405}" destId="{DB05E3A0-7BEA-4F1F-9D17-9BF83BDBEF2C}" srcOrd="8" destOrd="0" presId="urn:microsoft.com/office/officeart/2018/2/layout/IconVerticalSolidList"/>
    <dgm:cxn modelId="{CE47DC5A-A07C-46A9-B6F6-56849D459C4A}" type="presParOf" srcId="{DB05E3A0-7BEA-4F1F-9D17-9BF83BDBEF2C}" destId="{B8571F72-F949-45B5-AF5B-D050F42DA5CC}" srcOrd="0" destOrd="0" presId="urn:microsoft.com/office/officeart/2018/2/layout/IconVerticalSolidList"/>
    <dgm:cxn modelId="{1A230483-C492-4A75-AADC-08CB1DA20E33}" type="presParOf" srcId="{DB05E3A0-7BEA-4F1F-9D17-9BF83BDBEF2C}" destId="{876E03CE-F60A-418D-9F74-C479BECF7DAC}" srcOrd="1" destOrd="0" presId="urn:microsoft.com/office/officeart/2018/2/layout/IconVerticalSolidList"/>
    <dgm:cxn modelId="{FD53DA77-2328-4161-81C9-D1A62EB3F64A}" type="presParOf" srcId="{DB05E3A0-7BEA-4F1F-9D17-9BF83BDBEF2C}" destId="{7BDF2234-7C86-4B3F-8840-08FE8E8F342F}" srcOrd="2" destOrd="0" presId="urn:microsoft.com/office/officeart/2018/2/layout/IconVerticalSolidList"/>
    <dgm:cxn modelId="{ACC29400-7B61-4547-A9CD-26E2FF425C9B}" type="presParOf" srcId="{DB05E3A0-7BEA-4F1F-9D17-9BF83BDBEF2C}" destId="{EF33E261-6C54-477C-A866-69B7C0958652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D571B96-6C86-4F37-9587-2AB3747B0390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0F1CDD84-DFD8-40C5-B21B-D610D70717D9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</a:pPr>
          <a:r>
            <a:rPr lang="en-ZA" sz="1800" dirty="0"/>
            <a:t>All applications for the AEO programme must be done using the new automated process</a:t>
          </a:r>
          <a:r>
            <a:rPr lang="en-US" sz="1800" dirty="0"/>
            <a:t> after the 8</a:t>
          </a:r>
          <a:r>
            <a:rPr lang="en-US" sz="1800" baseline="30000" dirty="0"/>
            <a:t>th</a:t>
          </a:r>
          <a:r>
            <a:rPr lang="en-US" sz="1800" dirty="0"/>
            <a:t> of December 2023.</a:t>
          </a:r>
        </a:p>
      </dgm:t>
    </dgm:pt>
    <dgm:pt modelId="{E485338A-1F7A-4082-B646-E23918BFE1CE}" type="parTrans" cxnId="{8FF1A21B-0811-4C87-A2BD-053865A499A1}">
      <dgm:prSet/>
      <dgm:spPr/>
      <dgm:t>
        <a:bodyPr/>
        <a:lstStyle/>
        <a:p>
          <a:endParaRPr lang="en-US"/>
        </a:p>
      </dgm:t>
    </dgm:pt>
    <dgm:pt modelId="{1C9D92FC-95B8-46FA-8318-15F16103624B}" type="sibTrans" cxnId="{8FF1A21B-0811-4C87-A2BD-053865A499A1}">
      <dgm:prSet/>
      <dgm:spPr/>
      <dgm:t>
        <a:bodyPr/>
        <a:lstStyle/>
        <a:p>
          <a:endParaRPr lang="en-US"/>
        </a:p>
      </dgm:t>
    </dgm:pt>
    <dgm:pt modelId="{D16B3A74-73F6-4E16-8ABF-2E086C9742C0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</a:pPr>
          <a:r>
            <a:rPr lang="en-US" sz="1800" dirty="0"/>
            <a:t>All existing Accredited clients must be on-board to the new system for accreditation purposes.</a:t>
          </a:r>
        </a:p>
        <a:p>
          <a:pPr>
            <a:lnSpc>
              <a:spcPct val="100000"/>
            </a:lnSpc>
          </a:pPr>
          <a:r>
            <a:rPr lang="en-US" sz="1800" dirty="0"/>
            <a:t>Communication will be issued in due course.</a:t>
          </a:r>
        </a:p>
      </dgm:t>
    </dgm:pt>
    <dgm:pt modelId="{6DC81D96-5D77-40E5-A6FA-F186EEDDCD5D}" type="parTrans" cxnId="{CC269727-D1FD-44CA-8A97-4F392930652B}">
      <dgm:prSet/>
      <dgm:spPr/>
      <dgm:t>
        <a:bodyPr/>
        <a:lstStyle/>
        <a:p>
          <a:endParaRPr lang="en-US"/>
        </a:p>
      </dgm:t>
    </dgm:pt>
    <dgm:pt modelId="{602AFBD3-7ECE-44EA-B3FE-5C5E2D15A589}" type="sibTrans" cxnId="{CC269727-D1FD-44CA-8A97-4F392930652B}">
      <dgm:prSet/>
      <dgm:spPr/>
      <dgm:t>
        <a:bodyPr/>
        <a:lstStyle/>
        <a:p>
          <a:endParaRPr lang="en-US"/>
        </a:p>
      </dgm:t>
    </dgm:pt>
    <dgm:pt modelId="{713EAC07-4C19-41EC-B2D2-04D46D02514F}" type="pres">
      <dgm:prSet presAssocID="{1D571B96-6C86-4F37-9587-2AB3747B0390}" presName="root" presStyleCnt="0">
        <dgm:presLayoutVars>
          <dgm:dir/>
          <dgm:resizeHandles val="exact"/>
        </dgm:presLayoutVars>
      </dgm:prSet>
      <dgm:spPr/>
    </dgm:pt>
    <dgm:pt modelId="{8749FCFD-1FBB-4F83-8881-DB5CDC890718}" type="pres">
      <dgm:prSet presAssocID="{0F1CDD84-DFD8-40C5-B21B-D610D70717D9}" presName="compNode" presStyleCnt="0"/>
      <dgm:spPr/>
    </dgm:pt>
    <dgm:pt modelId="{4A41C4BE-5D06-4C95-8C38-AC4595B031A4}" type="pres">
      <dgm:prSet presAssocID="{0F1CDD84-DFD8-40C5-B21B-D610D70717D9}" presName="bgRect" presStyleLbl="bgShp" presStyleIdx="0" presStyleCnt="2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</dgm:pt>
    <dgm:pt modelId="{E49D16D9-D364-480A-9B95-DF583DBBF65A}" type="pres">
      <dgm:prSet presAssocID="{0F1CDD84-DFD8-40C5-B21B-D610D70717D9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97BD4FAD-BD04-474C-8E1B-D67B12CA629C}" type="pres">
      <dgm:prSet presAssocID="{0F1CDD84-DFD8-40C5-B21B-D610D70717D9}" presName="spaceRect" presStyleCnt="0"/>
      <dgm:spPr/>
    </dgm:pt>
    <dgm:pt modelId="{5D5E2B78-897C-4B78-9474-EBF51676CBF6}" type="pres">
      <dgm:prSet presAssocID="{0F1CDD84-DFD8-40C5-B21B-D610D70717D9}" presName="parTx" presStyleLbl="revTx" presStyleIdx="0" presStyleCnt="2">
        <dgm:presLayoutVars>
          <dgm:chMax val="0"/>
          <dgm:chPref val="0"/>
        </dgm:presLayoutVars>
      </dgm:prSet>
      <dgm:spPr/>
    </dgm:pt>
    <dgm:pt modelId="{36B14D35-83B6-47B0-B141-6AB35B396225}" type="pres">
      <dgm:prSet presAssocID="{1C9D92FC-95B8-46FA-8318-15F16103624B}" presName="sibTrans" presStyleCnt="0"/>
      <dgm:spPr/>
    </dgm:pt>
    <dgm:pt modelId="{4E48AE77-8E1B-4C66-827C-B27C9D4CCF08}" type="pres">
      <dgm:prSet presAssocID="{D16B3A74-73F6-4E16-8ABF-2E086C9742C0}" presName="compNode" presStyleCnt="0"/>
      <dgm:spPr/>
    </dgm:pt>
    <dgm:pt modelId="{6B82C9D5-58D9-46F3-9582-62DF5C4C6493}" type="pres">
      <dgm:prSet presAssocID="{D16B3A74-73F6-4E16-8ABF-2E086C9742C0}" presName="bgRect" presStyleLbl="bgShp" presStyleIdx="1" presStyleCnt="2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</dgm:pt>
    <dgm:pt modelId="{C34CBBCE-788F-4597-A5C8-F9A50E2C9D97}" type="pres">
      <dgm:prSet presAssocID="{D16B3A74-73F6-4E16-8ABF-2E086C9742C0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iploma Roll"/>
        </a:ext>
      </dgm:extLst>
    </dgm:pt>
    <dgm:pt modelId="{B0AA25B1-864E-415F-B612-7F77CED50839}" type="pres">
      <dgm:prSet presAssocID="{D16B3A74-73F6-4E16-8ABF-2E086C9742C0}" presName="spaceRect" presStyleCnt="0"/>
      <dgm:spPr/>
    </dgm:pt>
    <dgm:pt modelId="{9D6FD4C3-0A00-40C5-B454-EADAC3BEE57F}" type="pres">
      <dgm:prSet presAssocID="{D16B3A74-73F6-4E16-8ABF-2E086C9742C0}" presName="parTx" presStyleLbl="revTx" presStyleIdx="1" presStyleCnt="2">
        <dgm:presLayoutVars>
          <dgm:chMax val="0"/>
          <dgm:chPref val="0"/>
        </dgm:presLayoutVars>
      </dgm:prSet>
      <dgm:spPr/>
    </dgm:pt>
  </dgm:ptLst>
  <dgm:cxnLst>
    <dgm:cxn modelId="{915B4105-31AE-41FD-9582-039EB6A3662D}" type="presOf" srcId="{0F1CDD84-DFD8-40C5-B21B-D610D70717D9}" destId="{5D5E2B78-897C-4B78-9474-EBF51676CBF6}" srcOrd="0" destOrd="0" presId="urn:microsoft.com/office/officeart/2018/2/layout/IconVerticalSolidList"/>
    <dgm:cxn modelId="{8FF1A21B-0811-4C87-A2BD-053865A499A1}" srcId="{1D571B96-6C86-4F37-9587-2AB3747B0390}" destId="{0F1CDD84-DFD8-40C5-B21B-D610D70717D9}" srcOrd="0" destOrd="0" parTransId="{E485338A-1F7A-4082-B646-E23918BFE1CE}" sibTransId="{1C9D92FC-95B8-46FA-8318-15F16103624B}"/>
    <dgm:cxn modelId="{CC269727-D1FD-44CA-8A97-4F392930652B}" srcId="{1D571B96-6C86-4F37-9587-2AB3747B0390}" destId="{D16B3A74-73F6-4E16-8ABF-2E086C9742C0}" srcOrd="1" destOrd="0" parTransId="{6DC81D96-5D77-40E5-A6FA-F186EEDDCD5D}" sibTransId="{602AFBD3-7ECE-44EA-B3FE-5C5E2D15A589}"/>
    <dgm:cxn modelId="{3F5DCD4B-7552-4932-80DA-35B5D4A3F7C8}" type="presOf" srcId="{D16B3A74-73F6-4E16-8ABF-2E086C9742C0}" destId="{9D6FD4C3-0A00-40C5-B454-EADAC3BEE57F}" srcOrd="0" destOrd="0" presId="urn:microsoft.com/office/officeart/2018/2/layout/IconVerticalSolidList"/>
    <dgm:cxn modelId="{363A2581-1A1E-4611-8D3D-8FAE88F8026B}" type="presOf" srcId="{1D571B96-6C86-4F37-9587-2AB3747B0390}" destId="{713EAC07-4C19-41EC-B2D2-04D46D02514F}" srcOrd="0" destOrd="0" presId="urn:microsoft.com/office/officeart/2018/2/layout/IconVerticalSolidList"/>
    <dgm:cxn modelId="{713CD8A7-55FE-4527-9438-AEE431944C7A}" type="presParOf" srcId="{713EAC07-4C19-41EC-B2D2-04D46D02514F}" destId="{8749FCFD-1FBB-4F83-8881-DB5CDC890718}" srcOrd="0" destOrd="0" presId="urn:microsoft.com/office/officeart/2018/2/layout/IconVerticalSolidList"/>
    <dgm:cxn modelId="{D37756E3-1505-49B3-B637-3370BECDB36E}" type="presParOf" srcId="{8749FCFD-1FBB-4F83-8881-DB5CDC890718}" destId="{4A41C4BE-5D06-4C95-8C38-AC4595B031A4}" srcOrd="0" destOrd="0" presId="urn:microsoft.com/office/officeart/2018/2/layout/IconVerticalSolidList"/>
    <dgm:cxn modelId="{589780F0-45FC-44FB-BA39-5718C5087907}" type="presParOf" srcId="{8749FCFD-1FBB-4F83-8881-DB5CDC890718}" destId="{E49D16D9-D364-480A-9B95-DF583DBBF65A}" srcOrd="1" destOrd="0" presId="urn:microsoft.com/office/officeart/2018/2/layout/IconVerticalSolidList"/>
    <dgm:cxn modelId="{446CF3FD-0630-4CF9-B087-2064123A35BB}" type="presParOf" srcId="{8749FCFD-1FBB-4F83-8881-DB5CDC890718}" destId="{97BD4FAD-BD04-474C-8E1B-D67B12CA629C}" srcOrd="2" destOrd="0" presId="urn:microsoft.com/office/officeart/2018/2/layout/IconVerticalSolidList"/>
    <dgm:cxn modelId="{BDC18197-72A5-49D9-8503-9DD77DBB9458}" type="presParOf" srcId="{8749FCFD-1FBB-4F83-8881-DB5CDC890718}" destId="{5D5E2B78-897C-4B78-9474-EBF51676CBF6}" srcOrd="3" destOrd="0" presId="urn:microsoft.com/office/officeart/2018/2/layout/IconVerticalSolidList"/>
    <dgm:cxn modelId="{D0803BD6-1E6B-4B27-B7F2-D4BDB53131E6}" type="presParOf" srcId="{713EAC07-4C19-41EC-B2D2-04D46D02514F}" destId="{36B14D35-83B6-47B0-B141-6AB35B396225}" srcOrd="1" destOrd="0" presId="urn:microsoft.com/office/officeart/2018/2/layout/IconVerticalSolidList"/>
    <dgm:cxn modelId="{556AF778-EFD4-4F0D-BEED-E40F3037217E}" type="presParOf" srcId="{713EAC07-4C19-41EC-B2D2-04D46D02514F}" destId="{4E48AE77-8E1B-4C66-827C-B27C9D4CCF08}" srcOrd="2" destOrd="0" presId="urn:microsoft.com/office/officeart/2018/2/layout/IconVerticalSolidList"/>
    <dgm:cxn modelId="{E4DDA67B-7833-47E7-9764-931BC6F9B3CC}" type="presParOf" srcId="{4E48AE77-8E1B-4C66-827C-B27C9D4CCF08}" destId="{6B82C9D5-58D9-46F3-9582-62DF5C4C6493}" srcOrd="0" destOrd="0" presId="urn:microsoft.com/office/officeart/2018/2/layout/IconVerticalSolidList"/>
    <dgm:cxn modelId="{0D3E9DBC-0529-48C0-894A-0BA1501D27DE}" type="presParOf" srcId="{4E48AE77-8E1B-4C66-827C-B27C9D4CCF08}" destId="{C34CBBCE-788F-4597-A5C8-F9A50E2C9D97}" srcOrd="1" destOrd="0" presId="urn:microsoft.com/office/officeart/2018/2/layout/IconVerticalSolidList"/>
    <dgm:cxn modelId="{AAFF5861-A70A-43D7-BDAE-4EEED1AE8985}" type="presParOf" srcId="{4E48AE77-8E1B-4C66-827C-B27C9D4CCF08}" destId="{B0AA25B1-864E-415F-B612-7F77CED50839}" srcOrd="2" destOrd="0" presId="urn:microsoft.com/office/officeart/2018/2/layout/IconVerticalSolidList"/>
    <dgm:cxn modelId="{2DE18FCE-9933-44D0-BADD-B70B387AC0CD}" type="presParOf" srcId="{4E48AE77-8E1B-4C66-827C-B27C9D4CCF08}" destId="{9D6FD4C3-0A00-40C5-B454-EADAC3BEE57F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748E9B-C33C-42C0-94D9-1FCB8EB02CC9}">
      <dsp:nvSpPr>
        <dsp:cNvPr id="0" name=""/>
        <dsp:cNvSpPr/>
      </dsp:nvSpPr>
      <dsp:spPr>
        <a:xfrm>
          <a:off x="0" y="3318"/>
          <a:ext cx="5281564" cy="706918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B795D1-EC66-4C2D-A928-FF8A2C973331}">
      <dsp:nvSpPr>
        <dsp:cNvPr id="0" name=""/>
        <dsp:cNvSpPr/>
      </dsp:nvSpPr>
      <dsp:spPr>
        <a:xfrm>
          <a:off x="213842" y="162375"/>
          <a:ext cx="388805" cy="38880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3B7A319-A1E2-49F2-A922-CECCB422CF88}">
      <dsp:nvSpPr>
        <dsp:cNvPr id="0" name=""/>
        <dsp:cNvSpPr/>
      </dsp:nvSpPr>
      <dsp:spPr>
        <a:xfrm>
          <a:off x="816491" y="3318"/>
          <a:ext cx="4465073" cy="7069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816" tIns="74816" rIns="74816" bIns="7481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800" kern="1200" dirty="0"/>
            <a:t>Elimination of manual process</a:t>
          </a:r>
          <a:endParaRPr lang="en-US" sz="1800" kern="1200" dirty="0"/>
        </a:p>
      </dsp:txBody>
      <dsp:txXfrm>
        <a:off x="816491" y="3318"/>
        <a:ext cx="4465073" cy="706918"/>
      </dsp:txXfrm>
    </dsp:sp>
    <dsp:sp modelId="{437730AC-9462-4E9F-AA9B-905BDEB8267D}">
      <dsp:nvSpPr>
        <dsp:cNvPr id="0" name=""/>
        <dsp:cNvSpPr/>
      </dsp:nvSpPr>
      <dsp:spPr>
        <a:xfrm>
          <a:off x="0" y="886967"/>
          <a:ext cx="5281564" cy="706918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35F8B1-FB15-44F4-A705-CFFF56C86FBF}">
      <dsp:nvSpPr>
        <dsp:cNvPr id="0" name=""/>
        <dsp:cNvSpPr/>
      </dsp:nvSpPr>
      <dsp:spPr>
        <a:xfrm>
          <a:off x="213842" y="1046024"/>
          <a:ext cx="388805" cy="38880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C167A5-1A84-4935-9872-77C4BCF2E9AB}">
      <dsp:nvSpPr>
        <dsp:cNvPr id="0" name=""/>
        <dsp:cNvSpPr/>
      </dsp:nvSpPr>
      <dsp:spPr>
        <a:xfrm>
          <a:off x="816491" y="886967"/>
          <a:ext cx="4465073" cy="7069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816" tIns="74816" rIns="74816" bIns="7481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800" kern="1200" dirty="0"/>
            <a:t>Electronic Submission</a:t>
          </a:r>
          <a:endParaRPr lang="en-US" sz="1800" kern="1200" dirty="0"/>
        </a:p>
      </dsp:txBody>
      <dsp:txXfrm>
        <a:off x="816491" y="886967"/>
        <a:ext cx="4465073" cy="706918"/>
      </dsp:txXfrm>
    </dsp:sp>
    <dsp:sp modelId="{B435B114-4DAD-46C4-8C7F-40377F4D22F2}">
      <dsp:nvSpPr>
        <dsp:cNvPr id="0" name=""/>
        <dsp:cNvSpPr/>
      </dsp:nvSpPr>
      <dsp:spPr>
        <a:xfrm>
          <a:off x="0" y="1770616"/>
          <a:ext cx="5281564" cy="706918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E2A57D-A2E9-4F31-B219-12160F8FC80A}">
      <dsp:nvSpPr>
        <dsp:cNvPr id="0" name=""/>
        <dsp:cNvSpPr/>
      </dsp:nvSpPr>
      <dsp:spPr>
        <a:xfrm>
          <a:off x="213842" y="1929672"/>
          <a:ext cx="388805" cy="388805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C89385-A5A3-48F6-8708-401235C6C8CE}">
      <dsp:nvSpPr>
        <dsp:cNvPr id="0" name=""/>
        <dsp:cNvSpPr/>
      </dsp:nvSpPr>
      <dsp:spPr>
        <a:xfrm>
          <a:off x="816491" y="1770616"/>
          <a:ext cx="4465073" cy="7069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816" tIns="74816" rIns="74816" bIns="7481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800" kern="1200" dirty="0"/>
            <a:t>Simpler Process</a:t>
          </a:r>
          <a:endParaRPr lang="en-US" sz="1800" kern="1200" dirty="0"/>
        </a:p>
      </dsp:txBody>
      <dsp:txXfrm>
        <a:off x="816491" y="1770616"/>
        <a:ext cx="4465073" cy="706918"/>
      </dsp:txXfrm>
    </dsp:sp>
    <dsp:sp modelId="{9F493846-F2A5-405E-A6BA-1CFFA39A98E5}">
      <dsp:nvSpPr>
        <dsp:cNvPr id="0" name=""/>
        <dsp:cNvSpPr/>
      </dsp:nvSpPr>
      <dsp:spPr>
        <a:xfrm>
          <a:off x="0" y="2654264"/>
          <a:ext cx="5281564" cy="706918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78D32E-BB7F-486C-AC13-16D07D95A000}">
      <dsp:nvSpPr>
        <dsp:cNvPr id="0" name=""/>
        <dsp:cNvSpPr/>
      </dsp:nvSpPr>
      <dsp:spPr>
        <a:xfrm>
          <a:off x="213842" y="2813321"/>
          <a:ext cx="388805" cy="388805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24386C8-E242-4407-A346-A085F6BAAA9E}">
      <dsp:nvSpPr>
        <dsp:cNvPr id="0" name=""/>
        <dsp:cNvSpPr/>
      </dsp:nvSpPr>
      <dsp:spPr>
        <a:xfrm>
          <a:off x="816491" y="2654264"/>
          <a:ext cx="4465073" cy="7069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816" tIns="74816" rIns="74816" bIns="7481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800" kern="1200" dirty="0"/>
            <a:t>Dashboard Functionality</a:t>
          </a:r>
          <a:endParaRPr lang="en-US" sz="1800" kern="1200" dirty="0"/>
        </a:p>
      </dsp:txBody>
      <dsp:txXfrm>
        <a:off x="816491" y="2654264"/>
        <a:ext cx="4465073" cy="706918"/>
      </dsp:txXfrm>
    </dsp:sp>
    <dsp:sp modelId="{B8571F72-F949-45B5-AF5B-D050F42DA5CC}">
      <dsp:nvSpPr>
        <dsp:cNvPr id="0" name=""/>
        <dsp:cNvSpPr/>
      </dsp:nvSpPr>
      <dsp:spPr>
        <a:xfrm>
          <a:off x="0" y="3537913"/>
          <a:ext cx="5281564" cy="706918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6E03CE-F60A-418D-9F74-C479BECF7DAC}">
      <dsp:nvSpPr>
        <dsp:cNvPr id="0" name=""/>
        <dsp:cNvSpPr/>
      </dsp:nvSpPr>
      <dsp:spPr>
        <a:xfrm>
          <a:off x="213842" y="3696970"/>
          <a:ext cx="388805" cy="388805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33E261-6C54-477C-A866-69B7C0958652}">
      <dsp:nvSpPr>
        <dsp:cNvPr id="0" name=""/>
        <dsp:cNvSpPr/>
      </dsp:nvSpPr>
      <dsp:spPr>
        <a:xfrm>
          <a:off x="816491" y="3537913"/>
          <a:ext cx="4465073" cy="7069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816" tIns="74816" rIns="74816" bIns="7481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800" kern="1200" dirty="0"/>
            <a:t>Automated Notifications</a:t>
          </a:r>
          <a:endParaRPr lang="en-US" sz="1800" kern="1200" dirty="0"/>
        </a:p>
      </dsp:txBody>
      <dsp:txXfrm>
        <a:off x="816491" y="3537913"/>
        <a:ext cx="4465073" cy="7069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41C4BE-5D06-4C95-8C38-AC4595B031A4}">
      <dsp:nvSpPr>
        <dsp:cNvPr id="0" name=""/>
        <dsp:cNvSpPr/>
      </dsp:nvSpPr>
      <dsp:spPr>
        <a:xfrm>
          <a:off x="0" y="690324"/>
          <a:ext cx="8370887" cy="1274445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110000"/>
                <a:satMod val="105000"/>
                <a:tint val="67000"/>
              </a:schemeClr>
            </a:gs>
            <a:gs pos="50000">
              <a:schemeClr val="accent1">
                <a:lumMod val="105000"/>
                <a:satMod val="103000"/>
                <a:tint val="73000"/>
              </a:schemeClr>
            </a:gs>
            <a:gs pos="100000">
              <a:schemeClr val="accent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</dsp:sp>
    <dsp:sp modelId="{E49D16D9-D364-480A-9B95-DF583DBBF65A}">
      <dsp:nvSpPr>
        <dsp:cNvPr id="0" name=""/>
        <dsp:cNvSpPr/>
      </dsp:nvSpPr>
      <dsp:spPr>
        <a:xfrm>
          <a:off x="385519" y="977074"/>
          <a:ext cx="700944" cy="70094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5E2B78-897C-4B78-9474-EBF51676CBF6}">
      <dsp:nvSpPr>
        <dsp:cNvPr id="0" name=""/>
        <dsp:cNvSpPr/>
      </dsp:nvSpPr>
      <dsp:spPr>
        <a:xfrm>
          <a:off x="1471984" y="690324"/>
          <a:ext cx="6898902" cy="1274445"/>
        </a:xfrm>
        <a:prstGeom prst="rect">
          <a:avLst/>
        </a:prstGeom>
        <a:solidFill>
          <a:schemeClr val="lt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134879" tIns="134879" rIns="134879" bIns="134879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800" kern="1200" dirty="0"/>
            <a:t>All applications for the AEO programme must be done using the new automated process</a:t>
          </a:r>
          <a:r>
            <a:rPr lang="en-US" sz="1800" kern="1200" dirty="0"/>
            <a:t> after the 8</a:t>
          </a:r>
          <a:r>
            <a:rPr lang="en-US" sz="1800" kern="1200" baseline="30000" dirty="0"/>
            <a:t>th</a:t>
          </a:r>
          <a:r>
            <a:rPr lang="en-US" sz="1800" kern="1200" dirty="0"/>
            <a:t> of December 2023.</a:t>
          </a:r>
        </a:p>
      </dsp:txBody>
      <dsp:txXfrm>
        <a:off x="1471984" y="690324"/>
        <a:ext cx="6898902" cy="1274445"/>
      </dsp:txXfrm>
    </dsp:sp>
    <dsp:sp modelId="{6B82C9D5-58D9-46F3-9582-62DF5C4C6493}">
      <dsp:nvSpPr>
        <dsp:cNvPr id="0" name=""/>
        <dsp:cNvSpPr/>
      </dsp:nvSpPr>
      <dsp:spPr>
        <a:xfrm>
          <a:off x="0" y="2283381"/>
          <a:ext cx="8370887" cy="1274445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110000"/>
                <a:satMod val="105000"/>
                <a:tint val="67000"/>
              </a:schemeClr>
            </a:gs>
            <a:gs pos="50000">
              <a:schemeClr val="accent1">
                <a:lumMod val="105000"/>
                <a:satMod val="103000"/>
                <a:tint val="73000"/>
              </a:schemeClr>
            </a:gs>
            <a:gs pos="100000">
              <a:schemeClr val="accent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</dsp:sp>
    <dsp:sp modelId="{C34CBBCE-788F-4597-A5C8-F9A50E2C9D97}">
      <dsp:nvSpPr>
        <dsp:cNvPr id="0" name=""/>
        <dsp:cNvSpPr/>
      </dsp:nvSpPr>
      <dsp:spPr>
        <a:xfrm>
          <a:off x="385519" y="2570131"/>
          <a:ext cx="700944" cy="70094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6FD4C3-0A00-40C5-B454-EADAC3BEE57F}">
      <dsp:nvSpPr>
        <dsp:cNvPr id="0" name=""/>
        <dsp:cNvSpPr/>
      </dsp:nvSpPr>
      <dsp:spPr>
        <a:xfrm>
          <a:off x="1471984" y="2283381"/>
          <a:ext cx="6898902" cy="1274445"/>
        </a:xfrm>
        <a:prstGeom prst="rect">
          <a:avLst/>
        </a:prstGeom>
        <a:solidFill>
          <a:schemeClr val="lt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134879" tIns="134879" rIns="134879" bIns="134879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ll existing Accredited clients must be on-board to the new system for accreditation purposes.</a:t>
          </a:r>
        </a:p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Communication will be issued in due course.</a:t>
          </a:r>
        </a:p>
      </dsp:txBody>
      <dsp:txXfrm>
        <a:off x="1471984" y="2283381"/>
        <a:ext cx="6898902" cy="12744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57C929-F5A2-B944-A14F-16451897D16C}" type="datetimeFigureOut">
              <a:rPr lang="en-US" smtClean="0"/>
              <a:t>11/2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B2B449-F1C8-6F47-A588-55ED763A979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99813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B2B449-F1C8-6F47-A588-55ED763A97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08512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B2B449-F1C8-6F47-A588-55ED763A979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87178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2B449-F1C8-6F47-A588-55ED763A9793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7494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57" y="11488"/>
            <a:ext cx="12176683" cy="6835025"/>
          </a:xfrm>
          <a:prstGeom prst="rect">
            <a:avLst/>
          </a:prstGeom>
        </p:spPr>
      </p:pic>
      <p:sp>
        <p:nvSpPr>
          <p:cNvPr id="7" name="Date Placeholder 13"/>
          <p:cNvSpPr>
            <a:spLocks noGrp="1"/>
          </p:cNvSpPr>
          <p:nvPr>
            <p:ph type="dt" sz="half" idx="10"/>
          </p:nvPr>
        </p:nvSpPr>
        <p:spPr>
          <a:xfrm>
            <a:off x="4917392" y="5143708"/>
            <a:ext cx="4928640" cy="301756"/>
          </a:xfrm>
          <a:prstGeom prst="rect">
            <a:avLst/>
          </a:prstGeom>
        </p:spPr>
        <p:txBody>
          <a:bodyPr/>
          <a:lstStyle>
            <a:lvl1pPr algn="l">
              <a:defRPr sz="1600" b="0" i="0" baseline="0">
                <a:solidFill>
                  <a:schemeClr val="bg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6"/>
          <p:cNvSpPr>
            <a:spLocks noGrp="1"/>
          </p:cNvSpPr>
          <p:nvPr>
            <p:ph type="title" hasCustomPrompt="1"/>
          </p:nvPr>
        </p:nvSpPr>
        <p:spPr>
          <a:xfrm>
            <a:off x="4917393" y="4185748"/>
            <a:ext cx="6698875" cy="514117"/>
          </a:xfrm>
        </p:spPr>
        <p:txBody>
          <a:bodyPr>
            <a:noAutofit/>
          </a:bodyPr>
          <a:lstStyle>
            <a:lvl1pPr algn="l">
              <a:defRPr sz="2400" b="1" i="0" baseline="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17392" y="4711906"/>
            <a:ext cx="6698875" cy="48895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Division</a:t>
            </a:r>
          </a:p>
        </p:txBody>
      </p:sp>
    </p:spTree>
    <p:extLst>
      <p:ext uri="{BB962C8B-B14F-4D97-AF65-F5344CB8AC3E}">
        <p14:creationId xmlns:p14="http://schemas.microsoft.com/office/powerpoint/2010/main" val="221606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5991" y="441325"/>
            <a:ext cx="10515600" cy="53260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5991" y="64298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rgbClr val="004C85"/>
                </a:solidFill>
                <a:latin typeface="Arial" charset="0"/>
              </a:defRPr>
            </a:lvl1pPr>
          </a:lstStyle>
          <a:p>
            <a:fld id="{B540B12B-D968-2643-8E7F-238A3C456C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5991" y="1052514"/>
            <a:ext cx="10515600" cy="437807"/>
          </a:xfrm>
        </p:spPr>
        <p:txBody>
          <a:bodyPr/>
          <a:lstStyle>
            <a:lvl1pPr>
              <a:defRPr b="1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55083" y="1844675"/>
            <a:ext cx="11161183" cy="4248151"/>
          </a:xfrm>
        </p:spPr>
        <p:txBody>
          <a:bodyPr>
            <a:normAutofit/>
          </a:bodyPr>
          <a:lstStyle>
            <a:lvl1pPr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55589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iagram&#10;&#10;Description automatically generated">
            <a:extLst>
              <a:ext uri="{FF2B5EF4-FFF2-40B4-BE49-F238E27FC236}">
                <a16:creationId xmlns:a16="http://schemas.microsoft.com/office/drawing/2014/main" id="{7A070D30-BF6E-7092-BE5E-0A9F7D25D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05655"/>
            <a:ext cx="12192000" cy="7069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59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xfrm>
            <a:off x="2829681" y="5913438"/>
            <a:ext cx="6532639" cy="301756"/>
          </a:xfrm>
          <a:prstGeom prst="rect">
            <a:avLst/>
          </a:prstGeom>
        </p:spPr>
        <p:txBody>
          <a:bodyPr/>
          <a:lstStyle>
            <a:lvl1pPr algn="ctr">
              <a:defRPr sz="1600" b="0" i="0" baseline="0">
                <a:solidFill>
                  <a:schemeClr val="bg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1599596" y="4005621"/>
            <a:ext cx="8992809" cy="514117"/>
          </a:xfrm>
        </p:spPr>
        <p:txBody>
          <a:bodyPr>
            <a:noAutofit/>
          </a:bodyPr>
          <a:lstStyle>
            <a:lvl1pPr algn="ctr">
              <a:defRPr sz="3200" b="1" i="0" baseline="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851453" y="4992693"/>
            <a:ext cx="6489095" cy="488950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Division</a:t>
            </a:r>
          </a:p>
        </p:txBody>
      </p:sp>
      <p:pic>
        <p:nvPicPr>
          <p:cNvPr id="3" name="Picture 2" descr="A picture containing text, water sport&#10;&#10;Description automatically generated">
            <a:extLst>
              <a:ext uri="{FF2B5EF4-FFF2-40B4-BE49-F238E27FC236}">
                <a16:creationId xmlns:a16="http://schemas.microsoft.com/office/drawing/2014/main" id="{875A963F-A346-A971-DAF2-CC6BB7DA04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05655"/>
            <a:ext cx="12220989" cy="708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1454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55991" y="6429827"/>
            <a:ext cx="564427" cy="365125"/>
          </a:xfrm>
        </p:spPr>
        <p:txBody>
          <a:bodyPr/>
          <a:lstStyle/>
          <a:p>
            <a:fld id="{B540B12B-D968-2643-8E7F-238A3C456C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55083" y="1844674"/>
            <a:ext cx="11161183" cy="424815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/>
            </a:lvl1pPr>
            <a:lvl2pPr marL="45720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455084" y="1052513"/>
            <a:ext cx="10515600" cy="437806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Logo&#10;&#10;Description automatically generated with low confidence">
            <a:extLst>
              <a:ext uri="{FF2B5EF4-FFF2-40B4-BE49-F238E27FC236}">
                <a16:creationId xmlns:a16="http://schemas.microsoft.com/office/drawing/2014/main" id="{1712A12D-862D-52B6-2F06-014B0D4073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82446" y="2016"/>
            <a:ext cx="1304657" cy="92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0450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40B12B-D968-2643-8E7F-238A3C456C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55083" y="1844674"/>
            <a:ext cx="11161183" cy="4248151"/>
          </a:xfrm>
        </p:spPr>
        <p:txBody>
          <a:bodyPr>
            <a:normAutofit/>
          </a:bodyPr>
          <a:lstStyle>
            <a:lvl1pPr marL="285750" indent="-285750">
              <a:lnSpc>
                <a:spcPct val="90000"/>
              </a:lnSpc>
              <a:spcBef>
                <a:spcPts val="0"/>
              </a:spcBef>
              <a:buFontTx/>
              <a:buBlip>
                <a:blip r:embed="rId2"/>
              </a:buBlip>
              <a:defRPr sz="1800"/>
            </a:lvl1pPr>
            <a:lvl2pPr marL="685800" indent="-228600">
              <a:lnSpc>
                <a:spcPct val="90000"/>
              </a:lnSpc>
              <a:spcBef>
                <a:spcPts val="0"/>
              </a:spcBef>
              <a:buFontTx/>
              <a:buBlip>
                <a:blip r:embed="rId2"/>
              </a:buBlip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0"/>
              </a:spcBef>
              <a:buFontTx/>
              <a:buBlip>
                <a:blip r:embed="rId2"/>
              </a:buBlip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0"/>
              </a:spcBef>
              <a:buFontTx/>
              <a:buBlip>
                <a:blip r:embed="rId2"/>
              </a:buBlip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0"/>
              </a:spcBef>
              <a:buFontTx/>
              <a:buBlip>
                <a:blip r:embed="rId2"/>
              </a:buBlip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455084" y="1052513"/>
            <a:ext cx="10515600" cy="437806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Logo&#10;&#10;Description automatically generated with low confidence">
            <a:extLst>
              <a:ext uri="{FF2B5EF4-FFF2-40B4-BE49-F238E27FC236}">
                <a16:creationId xmlns:a16="http://schemas.microsoft.com/office/drawing/2014/main" id="{B51ECF97-1FB0-9B6F-5332-ADEB2FF85C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87343" y="19295"/>
            <a:ext cx="1304657" cy="92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343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5991" y="441325"/>
            <a:ext cx="10515600" cy="53260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5991" y="64298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rgbClr val="004C85"/>
                </a:solidFill>
                <a:latin typeface="Arial" charset="0"/>
              </a:defRPr>
            </a:lvl1pPr>
          </a:lstStyle>
          <a:p>
            <a:fld id="{B540B12B-D968-2643-8E7F-238A3C456C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5991" y="1052514"/>
            <a:ext cx="10515600" cy="437807"/>
          </a:xfrm>
        </p:spPr>
        <p:txBody>
          <a:bodyPr/>
          <a:lstStyle>
            <a:lvl1pPr>
              <a:defRPr b="1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55083" y="1844675"/>
            <a:ext cx="11161183" cy="4248151"/>
          </a:xfrm>
        </p:spPr>
        <p:txBody>
          <a:bodyPr>
            <a:normAutofit/>
          </a:bodyPr>
          <a:lstStyle>
            <a:lvl1pPr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Logo&#10;&#10;Description automatically generated with low confidence">
            <a:extLst>
              <a:ext uri="{FF2B5EF4-FFF2-40B4-BE49-F238E27FC236}">
                <a16:creationId xmlns:a16="http://schemas.microsoft.com/office/drawing/2014/main" id="{CFB054D5-802E-35DB-E0C3-C2B613D971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78212" y="0"/>
            <a:ext cx="1304657" cy="92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7860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iagram&#10;&#10;Description automatically generated">
            <a:extLst>
              <a:ext uri="{FF2B5EF4-FFF2-40B4-BE49-F238E27FC236}">
                <a16:creationId xmlns:a16="http://schemas.microsoft.com/office/drawing/2014/main" id="{C1678B8D-CF85-9478-EA1E-29FD8A5B5F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830" y="-106136"/>
            <a:ext cx="12207739" cy="707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357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40B12B-D968-2643-8E7F-238A3C456C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55083" y="1844674"/>
            <a:ext cx="11161183" cy="424815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/>
            </a:lvl1pPr>
            <a:lvl2pPr marL="45720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455084" y="1052513"/>
            <a:ext cx="10515600" cy="437806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0728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40B12B-D968-2643-8E7F-238A3C456C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55083" y="1844674"/>
            <a:ext cx="11161183" cy="4248151"/>
          </a:xfrm>
        </p:spPr>
        <p:txBody>
          <a:bodyPr>
            <a:normAutofit/>
          </a:bodyPr>
          <a:lstStyle>
            <a:lvl1pPr marL="285750" indent="-285750">
              <a:lnSpc>
                <a:spcPct val="90000"/>
              </a:lnSpc>
              <a:spcBef>
                <a:spcPts val="0"/>
              </a:spcBef>
              <a:buFontTx/>
              <a:buBlip>
                <a:blip r:embed="rId2"/>
              </a:buBlip>
              <a:defRPr sz="1800"/>
            </a:lvl1pPr>
            <a:lvl2pPr marL="685800" indent="-228600">
              <a:lnSpc>
                <a:spcPct val="90000"/>
              </a:lnSpc>
              <a:spcBef>
                <a:spcPts val="0"/>
              </a:spcBef>
              <a:buFontTx/>
              <a:buBlip>
                <a:blip r:embed="rId2"/>
              </a:buBlip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0"/>
              </a:spcBef>
              <a:buFontTx/>
              <a:buBlip>
                <a:blip r:embed="rId2"/>
              </a:buBlip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0"/>
              </a:spcBef>
              <a:buFontTx/>
              <a:buBlip>
                <a:blip r:embed="rId2"/>
              </a:buBlip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0"/>
              </a:spcBef>
              <a:buFontTx/>
              <a:buBlip>
                <a:blip r:embed="rId2"/>
              </a:buBlip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455084" y="1052513"/>
            <a:ext cx="10515600" cy="437806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15662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5991" y="441325"/>
            <a:ext cx="10515600" cy="53260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5991" y="64298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rgbClr val="004C85"/>
                </a:solidFill>
                <a:latin typeface="Arial" charset="0"/>
              </a:defRPr>
            </a:lvl1pPr>
          </a:lstStyle>
          <a:p>
            <a:fld id="{B540B12B-D968-2643-8E7F-238A3C456C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5991" y="1052514"/>
            <a:ext cx="10515600" cy="437807"/>
          </a:xfrm>
        </p:spPr>
        <p:txBody>
          <a:bodyPr/>
          <a:lstStyle>
            <a:lvl1pPr>
              <a:defRPr b="1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55083" y="1844675"/>
            <a:ext cx="11161183" cy="4248151"/>
          </a:xfrm>
        </p:spPr>
        <p:txBody>
          <a:bodyPr>
            <a:normAutofit/>
          </a:bodyPr>
          <a:lstStyle>
            <a:lvl1pPr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93990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821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1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5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3713628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xfrm>
            <a:off x="2829681" y="5913438"/>
            <a:ext cx="6532639" cy="301756"/>
          </a:xfrm>
          <a:prstGeom prst="rect">
            <a:avLst/>
          </a:prstGeom>
        </p:spPr>
        <p:txBody>
          <a:bodyPr/>
          <a:lstStyle>
            <a:lvl1pPr algn="ctr">
              <a:defRPr sz="1600" b="0" i="0" baseline="0">
                <a:solidFill>
                  <a:schemeClr val="bg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1599596" y="4005621"/>
            <a:ext cx="8992809" cy="514117"/>
          </a:xfrm>
        </p:spPr>
        <p:txBody>
          <a:bodyPr>
            <a:noAutofit/>
          </a:bodyPr>
          <a:lstStyle>
            <a:lvl1pPr algn="ctr">
              <a:defRPr sz="3200" b="1" i="0" baseline="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851453" y="4992693"/>
            <a:ext cx="6489095" cy="488950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Division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DFF995E4-6126-D2E3-8E06-811C11D96A4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05655"/>
            <a:ext cx="12266904" cy="7112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5084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55991" y="6429827"/>
            <a:ext cx="564427" cy="365125"/>
          </a:xfrm>
        </p:spPr>
        <p:txBody>
          <a:bodyPr/>
          <a:lstStyle/>
          <a:p>
            <a:fld id="{B540B12B-D968-2643-8E7F-238A3C456C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55083" y="1844674"/>
            <a:ext cx="11161183" cy="424815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/>
            </a:lvl1pPr>
            <a:lvl2pPr marL="45720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455084" y="1052513"/>
            <a:ext cx="10515600" cy="437806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96341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40B12B-D968-2643-8E7F-238A3C456C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55083" y="1844674"/>
            <a:ext cx="11161183" cy="4248151"/>
          </a:xfrm>
        </p:spPr>
        <p:txBody>
          <a:bodyPr>
            <a:normAutofit/>
          </a:bodyPr>
          <a:lstStyle>
            <a:lvl1pPr marL="285750" indent="-285750">
              <a:lnSpc>
                <a:spcPct val="90000"/>
              </a:lnSpc>
              <a:spcBef>
                <a:spcPts val="0"/>
              </a:spcBef>
              <a:buFontTx/>
              <a:buBlip>
                <a:blip r:embed="rId2"/>
              </a:buBlip>
              <a:defRPr sz="1800"/>
            </a:lvl1pPr>
            <a:lvl2pPr marL="685800" indent="-228600">
              <a:lnSpc>
                <a:spcPct val="90000"/>
              </a:lnSpc>
              <a:spcBef>
                <a:spcPts val="0"/>
              </a:spcBef>
              <a:buFontTx/>
              <a:buBlip>
                <a:blip r:embed="rId2"/>
              </a:buBlip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0"/>
              </a:spcBef>
              <a:buFontTx/>
              <a:buBlip>
                <a:blip r:embed="rId2"/>
              </a:buBlip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0"/>
              </a:spcBef>
              <a:buFontTx/>
              <a:buBlip>
                <a:blip r:embed="rId2"/>
              </a:buBlip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0"/>
              </a:spcBef>
              <a:buFontTx/>
              <a:buBlip>
                <a:blip r:embed="rId2"/>
              </a:buBlip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455084" y="1052513"/>
            <a:ext cx="10515600" cy="437806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96585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5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w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991" y="441325"/>
            <a:ext cx="10515600" cy="53260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/>
              <a:t>Click to edit Master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5991" y="1052513"/>
            <a:ext cx="10515600" cy="433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b="1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</a:rPr>
              <a:t>Click to edit Master Sub-head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5991" y="64298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rgbClr val="004C85"/>
                </a:solidFill>
                <a:latin typeface="Arial" charset="0"/>
              </a:defRPr>
            </a:lvl1pPr>
          </a:lstStyle>
          <a:p>
            <a:fld id="{B540B12B-D968-2643-8E7F-238A3C456CC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9914" y="6365972"/>
            <a:ext cx="1416351" cy="304133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575735" y="6237514"/>
            <a:ext cx="11040532" cy="0"/>
          </a:xfrm>
          <a:prstGeom prst="line">
            <a:avLst/>
          </a:prstGeom>
          <a:ln w="25400">
            <a:solidFill>
              <a:srgbClr val="004C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5" r:id="rId2"/>
    <p:sldLayoutId id="2147483662" r:id="rId3"/>
    <p:sldLayoutId id="2147483663" r:id="rId4"/>
    <p:sldLayoutId id="2147483664" r:id="rId5"/>
    <p:sldLayoutId id="2147483672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4C85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000" b="0" i="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9"/>
        </a:buBlip>
        <a:defRPr sz="2000" b="0" i="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200" b="0" i="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200" b="0" i="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200" b="0" i="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8" userDrawn="1">
          <p15:clr>
            <a:srgbClr val="F26B43"/>
          </p15:clr>
        </p15:guide>
        <p15:guide id="2" pos="363" userDrawn="1">
          <p15:clr>
            <a:srgbClr val="F26B43"/>
          </p15:clr>
        </p15:guide>
        <p15:guide id="3" pos="7317" userDrawn="1">
          <p15:clr>
            <a:srgbClr val="F26B43"/>
          </p15:clr>
        </p15:guide>
        <p15:guide id="4" orient="horz" pos="4201" userDrawn="1">
          <p15:clr>
            <a:srgbClr val="F26B43"/>
          </p15:clr>
        </p15:guide>
        <p15:guide id="5" orient="horz" pos="663" userDrawn="1">
          <p15:clr>
            <a:srgbClr val="F26B43"/>
          </p15:clr>
        </p15:guide>
        <p15:guide id="6" orient="horz" pos="1162" userDrawn="1">
          <p15:clr>
            <a:srgbClr val="F26B43"/>
          </p15:clr>
        </p15:guide>
        <p15:guide id="7" orient="horz" pos="383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6720A5E-5532-4B08-AE8B-894DC3421B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241568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6720A5E-5532-4B08-AE8B-894DC3421B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991" y="441325"/>
            <a:ext cx="10515600" cy="53260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5991" y="1052513"/>
            <a:ext cx="10515600" cy="433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b="1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</a:rPr>
              <a:t>Click to edit Master Sub-head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5991" y="64298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rgbClr val="004C85"/>
                </a:solidFill>
                <a:latin typeface="Arial" charset="0"/>
              </a:defRPr>
            </a:lvl1pPr>
          </a:lstStyle>
          <a:p>
            <a:fld id="{B540B12B-D968-2643-8E7F-238A3C456CC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9914" y="6365972"/>
            <a:ext cx="1416351" cy="304133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575735" y="6237514"/>
            <a:ext cx="11040532" cy="0"/>
          </a:xfrm>
          <a:prstGeom prst="line">
            <a:avLst/>
          </a:prstGeom>
          <a:ln w="25400">
            <a:solidFill>
              <a:srgbClr val="004C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3882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4C85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000" b="0" i="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1"/>
        </a:buBlip>
        <a:defRPr sz="2000" b="0" i="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200" b="0" i="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200" b="0" i="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200" b="0" i="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8" userDrawn="1">
          <p15:clr>
            <a:srgbClr val="F26B43"/>
          </p15:clr>
        </p15:guide>
        <p15:guide id="2" pos="363" userDrawn="1">
          <p15:clr>
            <a:srgbClr val="F26B43"/>
          </p15:clr>
        </p15:guide>
        <p15:guide id="3" pos="7317" userDrawn="1">
          <p15:clr>
            <a:srgbClr val="F26B43"/>
          </p15:clr>
        </p15:guide>
        <p15:guide id="4" orient="horz" pos="4201" userDrawn="1">
          <p15:clr>
            <a:srgbClr val="F26B43"/>
          </p15:clr>
        </p15:guide>
        <p15:guide id="5" orient="horz" pos="663" userDrawn="1">
          <p15:clr>
            <a:srgbClr val="F26B43"/>
          </p15:clr>
        </p15:guide>
        <p15:guide id="6" orient="horz" pos="1162" userDrawn="1">
          <p15:clr>
            <a:srgbClr val="F26B43"/>
          </p15:clr>
        </p15:guide>
        <p15:guide id="7" orient="horz" pos="383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991" y="441325"/>
            <a:ext cx="10515600" cy="53260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/>
              <a:t>Click to edit Master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5991" y="1052513"/>
            <a:ext cx="10515600" cy="433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b="1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</a:rPr>
              <a:t>Click to edit Master Sub-head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5991" y="64298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rgbClr val="004C85"/>
                </a:solidFill>
                <a:latin typeface="Arial" charset="0"/>
              </a:defRPr>
            </a:lvl1pPr>
          </a:lstStyle>
          <a:p>
            <a:fld id="{B540B12B-D968-2643-8E7F-238A3C456CC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9914" y="6365972"/>
            <a:ext cx="1416351" cy="304133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575735" y="6237514"/>
            <a:ext cx="11040532" cy="0"/>
          </a:xfrm>
          <a:prstGeom prst="line">
            <a:avLst/>
          </a:prstGeom>
          <a:ln w="25400">
            <a:solidFill>
              <a:srgbClr val="004C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6290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4C85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000" b="0" i="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8"/>
        </a:buBlip>
        <a:defRPr sz="2000" b="0" i="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200" b="0" i="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200" b="0" i="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200" b="0" i="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8">
          <p15:clr>
            <a:srgbClr val="F26B43"/>
          </p15:clr>
        </p15:guide>
        <p15:guide id="2" pos="363">
          <p15:clr>
            <a:srgbClr val="F26B43"/>
          </p15:clr>
        </p15:guide>
        <p15:guide id="3" pos="7317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1162">
          <p15:clr>
            <a:srgbClr val="F26B43"/>
          </p15:clr>
        </p15:guide>
        <p15:guide id="7" orient="horz" pos="38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3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ars.gov.za/customs-and-excise/excise/" TargetMode="External"/><Relationship Id="rId2" Type="http://schemas.openxmlformats.org/officeDocument/2006/relationships/hyperlink" Target="http://www.youtube.com/sarstv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hyperlink" Target="mailto:AuthorisedEconomicOperator@sars.gov.za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E520503-6D1A-FCF4-B3BF-C655B5702999}"/>
              </a:ext>
            </a:extLst>
          </p:cNvPr>
          <p:cNvSpPr txBox="1"/>
          <p:nvPr/>
        </p:nvSpPr>
        <p:spPr>
          <a:xfrm>
            <a:off x="5013960" y="3244334"/>
            <a:ext cx="52120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800" dirty="0">
                <a:solidFill>
                  <a:prstClr val="white"/>
                </a:solidFill>
                <a:latin typeface="Arial" panose="020B0604020202020204"/>
              </a:rPr>
              <a:t>South African Revenue Servi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4057EE-CBE5-DA9C-7CE3-C25A03368639}"/>
              </a:ext>
            </a:extLst>
          </p:cNvPr>
          <p:cNvSpPr txBox="1"/>
          <p:nvPr/>
        </p:nvSpPr>
        <p:spPr>
          <a:xfrm>
            <a:off x="3071726" y="1662310"/>
            <a:ext cx="73348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3000" b="1" dirty="0">
                <a:solidFill>
                  <a:prstClr val="white"/>
                </a:solidFill>
                <a:latin typeface=" arial heading"/>
              </a:rPr>
              <a:t>Automated RLA For AEO Application</a:t>
            </a:r>
          </a:p>
        </p:txBody>
      </p:sp>
    </p:spTree>
    <p:extLst>
      <p:ext uri="{BB962C8B-B14F-4D97-AF65-F5344CB8AC3E}">
        <p14:creationId xmlns:p14="http://schemas.microsoft.com/office/powerpoint/2010/main" val="23793411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67E24B29-B038-D745-26D5-4CF9B7E86E9B}"/>
              </a:ext>
            </a:extLst>
          </p:cNvPr>
          <p:cNvSpPr/>
          <p:nvPr/>
        </p:nvSpPr>
        <p:spPr>
          <a:xfrm>
            <a:off x="167043" y="791806"/>
            <a:ext cx="11859065" cy="545826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1B9B2F-E03A-E986-D597-08A62F60F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043" y="205173"/>
            <a:ext cx="10515600" cy="532606"/>
          </a:xfrm>
        </p:spPr>
        <p:txBody>
          <a:bodyPr/>
          <a:lstStyle/>
          <a:p>
            <a:r>
              <a:rPr lang="en-ZA" dirty="0"/>
              <a:t>Strategic Objective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E5F86B-CD21-77F1-30BB-1468C3308E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40B12B-D968-2643-8E7F-238A3C456CC9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A9A157F-9041-D6AE-78B7-90F39E743E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1246" y="1174653"/>
            <a:ext cx="1828800" cy="151048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89FD500-91A0-AF29-A867-26FB91E66A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37931" y="4693754"/>
            <a:ext cx="1723861" cy="136580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2C73C22-95E7-0B2E-7E74-5EEA38657593}"/>
              </a:ext>
            </a:extLst>
          </p:cNvPr>
          <p:cNvSpPr/>
          <p:nvPr/>
        </p:nvSpPr>
        <p:spPr>
          <a:xfrm>
            <a:off x="301246" y="3004018"/>
            <a:ext cx="2769983" cy="137138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tx1"/>
                </a:solidFill>
                <a:effectLst/>
              </a:rPr>
              <a:t>Develop a High performing, Diverse, Agile, Engaged &amp; Evolved workforce </a:t>
            </a:r>
            <a:endParaRPr lang="en-ZA" sz="16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F51F2F1-BE42-225D-A009-F44F47494432}"/>
              </a:ext>
            </a:extLst>
          </p:cNvPr>
          <p:cNvSpPr/>
          <p:nvPr/>
        </p:nvSpPr>
        <p:spPr>
          <a:xfrm>
            <a:off x="9017391" y="1174653"/>
            <a:ext cx="2873363" cy="14972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tx1"/>
                </a:solidFill>
                <a:effectLst/>
              </a:rPr>
              <a:t>Detect </a:t>
            </a:r>
            <a:r>
              <a:rPr lang="en-GB" sz="1600" dirty="0">
                <a:solidFill>
                  <a:schemeClr val="tx1"/>
                </a:solidFill>
              </a:rPr>
              <a:t>T</a:t>
            </a:r>
            <a:r>
              <a:rPr lang="en-GB" sz="1600" dirty="0">
                <a:solidFill>
                  <a:schemeClr val="tx1"/>
                </a:solidFill>
                <a:effectLst/>
              </a:rPr>
              <a:t>axpayers &amp; Traders who do not comply, and make non-compliance Hard &amp; Costly</a:t>
            </a:r>
            <a:endParaRPr lang="en-ZA" sz="1600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1828F6A-1319-E59D-8E2A-6F20BE363F97}"/>
              </a:ext>
            </a:extLst>
          </p:cNvPr>
          <p:cNvSpPr/>
          <p:nvPr/>
        </p:nvSpPr>
        <p:spPr>
          <a:xfrm>
            <a:off x="3454071" y="3007588"/>
            <a:ext cx="2433711" cy="137138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tx1"/>
                </a:solidFill>
                <a:effectLst/>
              </a:rPr>
              <a:t>Use Data for insights, risks &amp; improved outcomes</a:t>
            </a:r>
            <a:endParaRPr lang="en-ZA" sz="16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D70D6FE-83DB-CB30-9D90-E585EE18D619}"/>
              </a:ext>
            </a:extLst>
          </p:cNvPr>
          <p:cNvSpPr/>
          <p:nvPr/>
        </p:nvSpPr>
        <p:spPr>
          <a:xfrm>
            <a:off x="5438717" y="4627779"/>
            <a:ext cx="2813040" cy="13944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tx1"/>
                </a:solidFill>
                <a:effectLst/>
              </a:rPr>
              <a:t>Build Public Trust &amp; Confidence in the tax administration system</a:t>
            </a:r>
            <a:endParaRPr lang="en-ZA" sz="160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9CCB840-37B8-A0D7-270D-95CF5A5E5E6B}"/>
              </a:ext>
            </a:extLst>
          </p:cNvPr>
          <p:cNvSpPr/>
          <p:nvPr/>
        </p:nvSpPr>
        <p:spPr>
          <a:xfrm>
            <a:off x="2560320" y="1187875"/>
            <a:ext cx="2769983" cy="14972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tx1"/>
                </a:solidFill>
                <a:effectLst/>
              </a:rPr>
              <a:t>Provide Clarity &amp; Certainty for Taxpayers &amp; Traders of their obligations</a:t>
            </a:r>
            <a:endParaRPr lang="en-ZA" sz="160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390CE89-5CAF-D7CC-1EF4-4220712B1B71}"/>
              </a:ext>
            </a:extLst>
          </p:cNvPr>
          <p:cNvSpPr/>
          <p:nvPr/>
        </p:nvSpPr>
        <p:spPr>
          <a:xfrm>
            <a:off x="5928248" y="1174653"/>
            <a:ext cx="2769983" cy="149726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tx1"/>
                </a:solidFill>
                <a:effectLst/>
              </a:rPr>
              <a:t>Make it </a:t>
            </a:r>
            <a:r>
              <a:rPr lang="en-GB" sz="1600" dirty="0">
                <a:solidFill>
                  <a:schemeClr val="tx1"/>
                </a:solidFill>
              </a:rPr>
              <a:t>Easy</a:t>
            </a:r>
            <a:r>
              <a:rPr lang="en-GB" sz="1600" dirty="0">
                <a:solidFill>
                  <a:schemeClr val="tx1"/>
                </a:solidFill>
                <a:effectLst/>
              </a:rPr>
              <a:t> for Taxpayers &amp; Traders to comply with their obligations</a:t>
            </a:r>
            <a:endParaRPr lang="en-ZA" sz="16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2A63FFC-5711-5A7A-2692-AD67F82CE225}"/>
              </a:ext>
            </a:extLst>
          </p:cNvPr>
          <p:cNvSpPr/>
          <p:nvPr/>
        </p:nvSpPr>
        <p:spPr>
          <a:xfrm>
            <a:off x="6304220" y="3057546"/>
            <a:ext cx="2433711" cy="137138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tx1"/>
                </a:solidFill>
                <a:effectLst/>
              </a:rPr>
              <a:t>Modernise systems to provide seamless online digital services</a:t>
            </a:r>
            <a:endParaRPr lang="en-ZA" sz="16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B712F51-00D9-CAF8-AD01-447666C553E7}"/>
              </a:ext>
            </a:extLst>
          </p:cNvPr>
          <p:cNvSpPr/>
          <p:nvPr/>
        </p:nvSpPr>
        <p:spPr>
          <a:xfrm>
            <a:off x="9237216" y="3039502"/>
            <a:ext cx="2433711" cy="137138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tx1"/>
                </a:solidFill>
                <a:effectLst/>
              </a:rPr>
              <a:t>Use Resources efficiently to deliver quality outcomes &amp; excellence</a:t>
            </a:r>
            <a:endParaRPr lang="en-ZA" sz="1600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D4F5C35-A754-C8FD-2BF8-09969454298C}"/>
              </a:ext>
            </a:extLst>
          </p:cNvPr>
          <p:cNvSpPr/>
          <p:nvPr/>
        </p:nvSpPr>
        <p:spPr>
          <a:xfrm>
            <a:off x="2130046" y="4641598"/>
            <a:ext cx="2433711" cy="137138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tx1"/>
                </a:solidFill>
                <a:effectLst/>
              </a:rPr>
              <a:t>Work with &amp; through Stakeholders to improve tax systems</a:t>
            </a:r>
            <a:endParaRPr lang="en-ZA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89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E1E115-4315-AC8B-3619-9DB39000A6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8643" y="433718"/>
            <a:ext cx="7886700" cy="532606"/>
          </a:xfrm>
        </p:spPr>
        <p:txBody>
          <a:bodyPr anchor="t">
            <a:noAutofit/>
          </a:bodyPr>
          <a:lstStyle/>
          <a:p>
            <a:r>
              <a:rPr lang="en-ZA" dirty="0"/>
              <a:t>Ration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7ECFA4-016E-FF91-0AC4-F6D219DE1D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65993" y="6429827"/>
            <a:ext cx="20574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540B12B-D968-2643-8E7F-238A3C456CC9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CFBD892-7FBE-92AA-0F34-B56CB27A8D18}"/>
              </a:ext>
            </a:extLst>
          </p:cNvPr>
          <p:cNvSpPr txBox="1">
            <a:spLocks/>
          </p:cNvSpPr>
          <p:nvPr/>
        </p:nvSpPr>
        <p:spPr>
          <a:xfrm>
            <a:off x="2495616" y="861193"/>
            <a:ext cx="3334262" cy="24007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75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>
              <a:lnSpc>
                <a:spcPct val="100000"/>
              </a:lnSpc>
            </a:pPr>
            <a:r>
              <a:rPr lang="en-ZA" sz="1800" b="0" dirty="0">
                <a:latin typeface="+mn-lt"/>
              </a:rPr>
              <a:t>To eliminate manual intensive processes</a:t>
            </a:r>
            <a:endParaRPr lang="en-US" sz="1800" b="0" dirty="0">
              <a:latin typeface="+mn-lt"/>
            </a:endParaRP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7F8C5B4-2AAE-873C-7FCA-474CEAD34DA3}"/>
              </a:ext>
            </a:extLst>
          </p:cNvPr>
          <p:cNvSpPr txBox="1">
            <a:spLocks/>
          </p:cNvSpPr>
          <p:nvPr/>
        </p:nvSpPr>
        <p:spPr>
          <a:xfrm>
            <a:off x="7197714" y="1188525"/>
            <a:ext cx="2850103" cy="18303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75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ZA" sz="1800" b="0" dirty="0">
                <a:latin typeface="+mn-lt"/>
              </a:rPr>
              <a:t>Streamlined and automated application process</a:t>
            </a:r>
            <a:endParaRPr lang="en-US" sz="1800" b="0" dirty="0">
              <a:latin typeface="+mn-lt"/>
            </a:endParaRPr>
          </a:p>
          <a:p>
            <a:pPr>
              <a:lnSpc>
                <a:spcPct val="100000"/>
              </a:lnSpc>
            </a:pPr>
            <a:endParaRPr lang="en-US" sz="900" dirty="0">
              <a:latin typeface="MTN Brighter Sans Light" panose="00000400000000000000" pitchFamily="50" charset="0"/>
            </a:endParaRP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00" dirty="0">
              <a:latin typeface="MTN Brighter Sans Light" panose="00000400000000000000" pitchFamily="50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802EBCF-3666-2C07-48DE-0FA0C75C6942}"/>
              </a:ext>
            </a:extLst>
          </p:cNvPr>
          <p:cNvSpPr txBox="1">
            <a:spLocks/>
          </p:cNvSpPr>
          <p:nvPr/>
        </p:nvSpPr>
        <p:spPr>
          <a:xfrm>
            <a:off x="1923400" y="1554500"/>
            <a:ext cx="867120" cy="1782851"/>
          </a:xfrm>
          <a:prstGeom prst="rect">
            <a:avLst/>
          </a:prstGeom>
        </p:spPr>
        <p:txBody>
          <a:bodyPr/>
          <a:lstStyle>
            <a:lvl1pPr marL="155968" marR="0" indent="-155968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 lang="en-US" sz="900" kern="120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1pPr>
            <a:lvl2pPr marL="271457" marR="0" indent="-88104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sz="900" kern="120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2pPr>
            <a:lvl3pPr marL="400040" marR="0" indent="-135728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900" kern="120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3pPr>
            <a:lvl4pPr marL="509576" marR="0" indent="-122632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sz="900" kern="120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4pPr>
            <a:lvl5pPr marL="611966" marR="0" indent="-114297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900" kern="1200" dirty="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6000" dirty="0">
                <a:solidFill>
                  <a:schemeClr val="tx2"/>
                </a:solidFill>
                <a:latin typeface="+mn-lt"/>
              </a:rPr>
              <a:t>1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C87C403-639A-9993-C584-84C042F5FC2A}"/>
              </a:ext>
            </a:extLst>
          </p:cNvPr>
          <p:cNvSpPr txBox="1">
            <a:spLocks/>
          </p:cNvSpPr>
          <p:nvPr/>
        </p:nvSpPr>
        <p:spPr>
          <a:xfrm>
            <a:off x="6550518" y="1456609"/>
            <a:ext cx="867120" cy="1782851"/>
          </a:xfrm>
          <a:prstGeom prst="rect">
            <a:avLst/>
          </a:prstGeom>
        </p:spPr>
        <p:txBody>
          <a:bodyPr/>
          <a:lstStyle>
            <a:lvl1pPr marL="155968" marR="0" indent="-155968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 lang="en-US" sz="900" kern="120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1pPr>
            <a:lvl2pPr marL="271457" marR="0" indent="-88104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sz="900" kern="120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2pPr>
            <a:lvl3pPr marL="400040" marR="0" indent="-135728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900" kern="120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3pPr>
            <a:lvl4pPr marL="509576" marR="0" indent="-122632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sz="900" kern="120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4pPr>
            <a:lvl5pPr marL="611966" marR="0" indent="-114297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900" kern="1200" dirty="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6000" dirty="0">
                <a:solidFill>
                  <a:schemeClr val="tx2"/>
                </a:solidFill>
                <a:latin typeface="+mn-lt"/>
              </a:rPr>
              <a:t>2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9C87BE8-3D45-E168-7EF5-D31C1B3E8349}"/>
              </a:ext>
            </a:extLst>
          </p:cNvPr>
          <p:cNvSpPr txBox="1">
            <a:spLocks/>
          </p:cNvSpPr>
          <p:nvPr/>
        </p:nvSpPr>
        <p:spPr>
          <a:xfrm>
            <a:off x="4170945" y="3152122"/>
            <a:ext cx="867120" cy="1782851"/>
          </a:xfrm>
          <a:prstGeom prst="rect">
            <a:avLst/>
          </a:prstGeom>
        </p:spPr>
        <p:txBody>
          <a:bodyPr/>
          <a:lstStyle>
            <a:lvl1pPr marL="155968" marR="0" indent="-155968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 lang="en-US" sz="900" kern="120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1pPr>
            <a:lvl2pPr marL="271457" marR="0" indent="-88104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sz="900" kern="120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2pPr>
            <a:lvl3pPr marL="400040" marR="0" indent="-135728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900" kern="120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3pPr>
            <a:lvl4pPr marL="509576" marR="0" indent="-122632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sz="900" kern="120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4pPr>
            <a:lvl5pPr marL="611966" marR="0" indent="-114297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900" kern="1200" dirty="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6000" dirty="0">
                <a:solidFill>
                  <a:schemeClr val="tx2"/>
                </a:solidFill>
                <a:latin typeface="+mn-lt"/>
              </a:rPr>
              <a:t>3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CFC44D8-8BC0-32B9-572E-0A998FE7352E}"/>
              </a:ext>
            </a:extLst>
          </p:cNvPr>
          <p:cNvSpPr/>
          <p:nvPr/>
        </p:nvSpPr>
        <p:spPr>
          <a:xfrm>
            <a:off x="1691389" y="1384280"/>
            <a:ext cx="4454350" cy="1388474"/>
          </a:xfrm>
          <a:prstGeom prst="roundRect">
            <a:avLst>
              <a:gd name="adj" fmla="val 12535"/>
            </a:avLst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98C5FA0-50AC-C5CB-7A35-6C1758C0B15C}"/>
              </a:ext>
            </a:extLst>
          </p:cNvPr>
          <p:cNvSpPr/>
          <p:nvPr/>
        </p:nvSpPr>
        <p:spPr>
          <a:xfrm>
            <a:off x="6254228" y="1345185"/>
            <a:ext cx="4205954" cy="1388474"/>
          </a:xfrm>
          <a:prstGeom prst="roundRect">
            <a:avLst>
              <a:gd name="adj" fmla="val 12535"/>
            </a:avLst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BD0D3B1-0981-A03A-CA5E-7FF75EB17CD6}"/>
              </a:ext>
            </a:extLst>
          </p:cNvPr>
          <p:cNvSpPr/>
          <p:nvPr/>
        </p:nvSpPr>
        <p:spPr>
          <a:xfrm>
            <a:off x="1731818" y="2960262"/>
            <a:ext cx="8633625" cy="1388474"/>
          </a:xfrm>
          <a:prstGeom prst="roundRect">
            <a:avLst>
              <a:gd name="adj" fmla="val 12535"/>
            </a:avLst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EA516F7-0D69-EF76-2776-FDA43F4C480C}"/>
              </a:ext>
            </a:extLst>
          </p:cNvPr>
          <p:cNvSpPr/>
          <p:nvPr/>
        </p:nvSpPr>
        <p:spPr>
          <a:xfrm>
            <a:off x="3867381" y="4590145"/>
            <a:ext cx="4205954" cy="1388474"/>
          </a:xfrm>
          <a:prstGeom prst="roundRect">
            <a:avLst>
              <a:gd name="adj" fmla="val 12535"/>
            </a:avLst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D103BA4-0942-CD45-D8EE-A40FA156971A}"/>
              </a:ext>
            </a:extLst>
          </p:cNvPr>
          <p:cNvSpPr txBox="1">
            <a:spLocks/>
          </p:cNvSpPr>
          <p:nvPr/>
        </p:nvSpPr>
        <p:spPr>
          <a:xfrm>
            <a:off x="3924852" y="4753830"/>
            <a:ext cx="867120" cy="1782851"/>
          </a:xfrm>
          <a:prstGeom prst="rect">
            <a:avLst/>
          </a:prstGeom>
        </p:spPr>
        <p:txBody>
          <a:bodyPr/>
          <a:lstStyle>
            <a:lvl1pPr marL="155968" marR="0" indent="-155968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 lang="en-US" sz="900" kern="120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1pPr>
            <a:lvl2pPr marL="271457" marR="0" indent="-88104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sz="900" kern="120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2pPr>
            <a:lvl3pPr marL="400040" marR="0" indent="-135728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900" kern="120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3pPr>
            <a:lvl4pPr marL="509576" marR="0" indent="-122632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sz="900" kern="120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4pPr>
            <a:lvl5pPr marL="611966" marR="0" indent="-114297" algn="l" defTabSz="685783" rtl="0" eaLnBrk="1" fontAlgn="auto" latinLnBrk="0" hangingPunct="1">
              <a:lnSpc>
                <a:spcPct val="11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900" kern="1200" dirty="0" smtClean="0">
                <a:solidFill>
                  <a:schemeClr val="tx1"/>
                </a:solidFill>
                <a:latin typeface="MTN Brighter Sans" pitchFamily="2" charset="77"/>
                <a:ea typeface="+mn-ea"/>
                <a:cs typeface="+mn-cs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6000" dirty="0">
                <a:solidFill>
                  <a:schemeClr val="tx2"/>
                </a:solidFill>
                <a:latin typeface="+mn-lt"/>
              </a:rPr>
              <a:t>4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5314F8F-65C9-0172-7613-560257F54984}"/>
              </a:ext>
            </a:extLst>
          </p:cNvPr>
          <p:cNvSpPr txBox="1">
            <a:spLocks/>
          </p:cNvSpPr>
          <p:nvPr/>
        </p:nvSpPr>
        <p:spPr>
          <a:xfrm>
            <a:off x="4774507" y="2966547"/>
            <a:ext cx="4396584" cy="18303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75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ZA" sz="1800" b="0" dirty="0">
                <a:latin typeface="+mn-lt"/>
              </a:rPr>
              <a:t>End-to-end management process</a:t>
            </a:r>
            <a:endParaRPr lang="en-US" sz="1800" b="0" dirty="0">
              <a:latin typeface="+mn-lt"/>
            </a:endParaRPr>
          </a:p>
          <a:p>
            <a:pPr>
              <a:lnSpc>
                <a:spcPct val="100000"/>
              </a:lnSpc>
            </a:pPr>
            <a:endParaRPr lang="en-US" sz="1800" dirty="0">
              <a:latin typeface="+mn-lt"/>
            </a:endParaRP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00" dirty="0">
              <a:latin typeface="MTN Brighter Sans Light" panose="00000400000000000000" pitchFamily="50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7E93939-2C42-D740-40DB-03B2A71ADBD6}"/>
              </a:ext>
            </a:extLst>
          </p:cNvPr>
          <p:cNvSpPr txBox="1">
            <a:spLocks/>
          </p:cNvSpPr>
          <p:nvPr/>
        </p:nvSpPr>
        <p:spPr>
          <a:xfrm>
            <a:off x="4577667" y="4472583"/>
            <a:ext cx="4396584" cy="18303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75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ZA" sz="1800" b="0" dirty="0"/>
              <a:t>Robust service offering</a:t>
            </a:r>
            <a:endParaRPr lang="en-US" sz="1800" b="0" dirty="0"/>
          </a:p>
          <a:p>
            <a:pPr>
              <a:lnSpc>
                <a:spcPct val="100000"/>
              </a:lnSpc>
            </a:pPr>
            <a:endParaRPr lang="en-US" sz="900" b="0" dirty="0">
              <a:latin typeface="MTN Brighter Sans Light" panose="00000400000000000000" pitchFamily="50" charset="0"/>
            </a:endParaRP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00" dirty="0">
              <a:latin typeface="MTN Brighter Sans Light" panose="00000400000000000000" pitchFamily="50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63813BE-FD36-D053-D4BC-DAA439397C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98193" y="148294"/>
            <a:ext cx="1069737" cy="104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2350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4CB0827-3B2D-4AB1-9029-3B0CE90AD486}"/>
              </a:ext>
            </a:extLst>
          </p:cNvPr>
          <p:cNvSpPr/>
          <p:nvPr/>
        </p:nvSpPr>
        <p:spPr>
          <a:xfrm>
            <a:off x="8444549" y="1676877"/>
            <a:ext cx="2558383" cy="130965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FEA4822-3E9A-417C-BAA2-53986E9D233C}"/>
              </a:ext>
            </a:extLst>
          </p:cNvPr>
          <p:cNvSpPr/>
          <p:nvPr/>
        </p:nvSpPr>
        <p:spPr>
          <a:xfrm>
            <a:off x="995013" y="4084079"/>
            <a:ext cx="2670013" cy="1156829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>
              <a:solidFill>
                <a:schemeClr val="bg1"/>
              </a:solidFill>
            </a:endParaRPr>
          </a:p>
        </p:txBody>
      </p:sp>
      <p:sp>
        <p:nvSpPr>
          <p:cNvPr id="5" name="Bent-Up Arrow 129">
            <a:extLst>
              <a:ext uri="{FF2B5EF4-FFF2-40B4-BE49-F238E27FC236}">
                <a16:creationId xmlns:a16="http://schemas.microsoft.com/office/drawing/2014/main" id="{8B4F429C-8A9C-4E3D-A205-9E2C0CEED9A0}"/>
              </a:ext>
            </a:extLst>
          </p:cNvPr>
          <p:cNvSpPr/>
          <p:nvPr/>
        </p:nvSpPr>
        <p:spPr>
          <a:xfrm rot="16200000" flipV="1">
            <a:off x="3086396" y="3501437"/>
            <a:ext cx="555222" cy="610061"/>
          </a:xfrm>
          <a:prstGeom prst="bentUpArrow">
            <a:avLst>
              <a:gd name="adj1" fmla="val 36792"/>
              <a:gd name="adj2" fmla="val 29908"/>
              <a:gd name="adj3" fmla="val 3972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70C6E8-603F-4DFF-BE5E-BFA3095AA72F}"/>
              </a:ext>
            </a:extLst>
          </p:cNvPr>
          <p:cNvSpPr/>
          <p:nvPr/>
        </p:nvSpPr>
        <p:spPr>
          <a:xfrm>
            <a:off x="3669038" y="3416530"/>
            <a:ext cx="2334735" cy="135812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chemeClr val="bg1"/>
              </a:solidFill>
            </a:endParaRPr>
          </a:p>
        </p:txBody>
      </p:sp>
      <p:sp>
        <p:nvSpPr>
          <p:cNvPr id="7" name="Bent-Up Arrow 130">
            <a:extLst>
              <a:ext uri="{FF2B5EF4-FFF2-40B4-BE49-F238E27FC236}">
                <a16:creationId xmlns:a16="http://schemas.microsoft.com/office/drawing/2014/main" id="{102C6EBB-0262-4B27-A463-D823ABC61464}"/>
              </a:ext>
            </a:extLst>
          </p:cNvPr>
          <p:cNvSpPr/>
          <p:nvPr/>
        </p:nvSpPr>
        <p:spPr>
          <a:xfrm rot="16200000" flipV="1">
            <a:off x="5359612" y="2787968"/>
            <a:ext cx="650632" cy="610061"/>
          </a:xfrm>
          <a:prstGeom prst="bentUpArrow">
            <a:avLst>
              <a:gd name="adj1" fmla="val 36792"/>
              <a:gd name="adj2" fmla="val 29908"/>
              <a:gd name="adj3" fmla="val 39724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4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3D82869-F0FD-4850-B030-554C6F98DBF6}"/>
              </a:ext>
            </a:extLst>
          </p:cNvPr>
          <p:cNvSpPr/>
          <p:nvPr/>
        </p:nvSpPr>
        <p:spPr>
          <a:xfrm>
            <a:off x="5989959" y="2653392"/>
            <a:ext cx="2454591" cy="1358127"/>
          </a:xfrm>
          <a:prstGeom prst="rect">
            <a:avLst/>
          </a:pr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chemeClr val="bg1"/>
              </a:solidFill>
            </a:endParaRPr>
          </a:p>
        </p:txBody>
      </p:sp>
      <p:sp>
        <p:nvSpPr>
          <p:cNvPr id="9" name="Bent-Up Arrow 131">
            <a:extLst>
              <a:ext uri="{FF2B5EF4-FFF2-40B4-BE49-F238E27FC236}">
                <a16:creationId xmlns:a16="http://schemas.microsoft.com/office/drawing/2014/main" id="{5F0C6462-3BA9-4031-B753-9FBD0027FD5E}"/>
              </a:ext>
            </a:extLst>
          </p:cNvPr>
          <p:cNvSpPr/>
          <p:nvPr/>
        </p:nvSpPr>
        <p:spPr>
          <a:xfrm rot="16200000" flipV="1">
            <a:off x="7813841" y="2006996"/>
            <a:ext cx="596656" cy="711905"/>
          </a:xfrm>
          <a:prstGeom prst="bentUpArrow">
            <a:avLst>
              <a:gd name="adj1" fmla="val 36792"/>
              <a:gd name="adj2" fmla="val 29908"/>
              <a:gd name="adj3" fmla="val 3972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4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E2089D-0BF9-4EA1-AABE-E03DA62D078E}"/>
              </a:ext>
            </a:extLst>
          </p:cNvPr>
          <p:cNvSpPr txBox="1"/>
          <p:nvPr/>
        </p:nvSpPr>
        <p:spPr>
          <a:xfrm>
            <a:off x="6191897" y="3780688"/>
            <a:ext cx="2300627" cy="230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ko-KR" altLang="en-US" sz="900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grpSp>
        <p:nvGrpSpPr>
          <p:cNvPr id="19" name="Group 109">
            <a:extLst>
              <a:ext uri="{FF2B5EF4-FFF2-40B4-BE49-F238E27FC236}">
                <a16:creationId xmlns:a16="http://schemas.microsoft.com/office/drawing/2014/main" id="{8138F697-9FBE-4AB0-9A23-7451B681974E}"/>
              </a:ext>
            </a:extLst>
          </p:cNvPr>
          <p:cNvGrpSpPr/>
          <p:nvPr/>
        </p:nvGrpSpPr>
        <p:grpSpPr>
          <a:xfrm>
            <a:off x="1603756" y="4339329"/>
            <a:ext cx="1939155" cy="1518640"/>
            <a:chOff x="2864046" y="2078920"/>
            <a:chExt cx="1730802" cy="1656704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98B52FD-2D97-4C82-A1F6-8EE0E876D412}"/>
                </a:ext>
              </a:extLst>
            </p:cNvPr>
            <p:cNvSpPr txBox="1"/>
            <p:nvPr/>
          </p:nvSpPr>
          <p:spPr>
            <a:xfrm>
              <a:off x="2864046" y="2078920"/>
              <a:ext cx="1400518" cy="40290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altLang="ko-KR" b="1" dirty="0">
                  <a:solidFill>
                    <a:schemeClr val="bg1"/>
                  </a:solidFill>
                  <a:cs typeface="Arial" pitchFamily="34" charset="0"/>
                </a:rPr>
                <a:t>Applicant </a:t>
              </a:r>
              <a:endParaRPr lang="ko-KR" altLang="en-US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2F80D4D-7184-4462-8CA5-251D398F173A}"/>
                </a:ext>
              </a:extLst>
            </p:cNvPr>
            <p:cNvSpPr txBox="1"/>
            <p:nvPr/>
          </p:nvSpPr>
          <p:spPr>
            <a:xfrm>
              <a:off x="3194330" y="3399866"/>
              <a:ext cx="1400518" cy="33575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endParaRPr lang="en-US" altLang="ko-KR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oup 109">
            <a:extLst>
              <a:ext uri="{FF2B5EF4-FFF2-40B4-BE49-F238E27FC236}">
                <a16:creationId xmlns:a16="http://schemas.microsoft.com/office/drawing/2014/main" id="{F5A59D4E-0E07-403B-82BB-4217634E0CDD}"/>
              </a:ext>
            </a:extLst>
          </p:cNvPr>
          <p:cNvGrpSpPr/>
          <p:nvPr/>
        </p:nvGrpSpPr>
        <p:grpSpPr>
          <a:xfrm>
            <a:off x="3927679" y="3933089"/>
            <a:ext cx="3893663" cy="1992357"/>
            <a:chOff x="3393329" y="2305578"/>
            <a:chExt cx="2889128" cy="1496264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724685E-A35F-483D-8DF1-73405CDBF504}"/>
                </a:ext>
              </a:extLst>
            </p:cNvPr>
            <p:cNvSpPr txBox="1"/>
            <p:nvPr/>
          </p:nvSpPr>
          <p:spPr>
            <a:xfrm>
              <a:off x="3393329" y="2305578"/>
              <a:ext cx="1400519" cy="4853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altLang="ko-KR" b="1" dirty="0">
                  <a:solidFill>
                    <a:schemeClr val="bg1"/>
                  </a:solidFill>
                  <a:cs typeface="Arial" pitchFamily="34" charset="0"/>
                </a:rPr>
                <a:t>Client Initiates the Application </a:t>
              </a:r>
              <a:endParaRPr lang="ko-KR" altLang="en-US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F069B9C-0D89-45C4-94C5-A037F26D0E68}"/>
                </a:ext>
              </a:extLst>
            </p:cNvPr>
            <p:cNvSpPr txBox="1"/>
            <p:nvPr/>
          </p:nvSpPr>
          <p:spPr>
            <a:xfrm>
              <a:off x="4881938" y="3466085"/>
              <a:ext cx="1400519" cy="33575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endParaRPr lang="en-US" altLang="ko-KR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B1D65774-2D25-4446-B04A-631405F71CE0}"/>
              </a:ext>
            </a:extLst>
          </p:cNvPr>
          <p:cNvSpPr txBox="1"/>
          <p:nvPr/>
        </p:nvSpPr>
        <p:spPr>
          <a:xfrm>
            <a:off x="5886167" y="2460286"/>
            <a:ext cx="2454591" cy="113877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endParaRPr lang="en-US" altLang="ko-KR" sz="1600" b="1" dirty="0">
              <a:solidFill>
                <a:schemeClr val="bg1"/>
              </a:solidFill>
              <a:cs typeface="Arial" pitchFamily="34" charset="0"/>
            </a:endParaRPr>
          </a:p>
          <a:p>
            <a:pPr algn="ctr"/>
            <a:endParaRPr lang="en-US" altLang="ko-KR" sz="1600" b="1" dirty="0">
              <a:solidFill>
                <a:schemeClr val="bg1"/>
              </a:solidFill>
              <a:cs typeface="Arial" pitchFamily="34" charset="0"/>
            </a:endParaRPr>
          </a:p>
          <a:p>
            <a:pPr algn="ctr"/>
            <a:r>
              <a:rPr lang="en-US" altLang="ko-KR" b="1" dirty="0">
                <a:solidFill>
                  <a:schemeClr val="bg1"/>
                </a:solidFill>
                <a:cs typeface="Arial" pitchFamily="34" charset="0"/>
              </a:rPr>
              <a:t>Application Processed by SARS</a:t>
            </a:r>
            <a:endParaRPr lang="ko-KR" altLang="en-US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5D585F9-C9E2-4836-AB2D-71D50DB59C49}"/>
              </a:ext>
            </a:extLst>
          </p:cNvPr>
          <p:cNvSpPr txBox="1"/>
          <p:nvPr/>
        </p:nvSpPr>
        <p:spPr>
          <a:xfrm>
            <a:off x="8340758" y="2041584"/>
            <a:ext cx="2510407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b="1" dirty="0">
                <a:solidFill>
                  <a:schemeClr val="bg1"/>
                </a:solidFill>
                <a:cs typeface="Arial" pitchFamily="34" charset="0"/>
              </a:rPr>
              <a:t>AEO Outcome</a:t>
            </a:r>
            <a:endParaRPr lang="ko-KR" altLang="en-US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AF2C36D-6FA5-4934-94A3-623C95970ABC}"/>
              </a:ext>
            </a:extLst>
          </p:cNvPr>
          <p:cNvSpPr/>
          <p:nvPr/>
        </p:nvSpPr>
        <p:spPr>
          <a:xfrm>
            <a:off x="4120292" y="3480060"/>
            <a:ext cx="237907" cy="344576"/>
          </a:xfrm>
          <a:custGeom>
            <a:avLst/>
            <a:gdLst/>
            <a:ahLst/>
            <a:cxnLst/>
            <a:rect l="l" t="t" r="r" b="b"/>
            <a:pathLst>
              <a:path w="3240000" h="3230531">
                <a:moveTo>
                  <a:pt x="720000" y="2697973"/>
                </a:moveTo>
                <a:cubicBezTo>
                  <a:pt x="680235" y="2697973"/>
                  <a:pt x="648000" y="2730208"/>
                  <a:pt x="648000" y="2769973"/>
                </a:cubicBezTo>
                <a:cubicBezTo>
                  <a:pt x="648000" y="2809738"/>
                  <a:pt x="680235" y="2841973"/>
                  <a:pt x="720000" y="2841973"/>
                </a:cubicBezTo>
                <a:lnTo>
                  <a:pt x="2520000" y="2841973"/>
                </a:lnTo>
                <a:cubicBezTo>
                  <a:pt x="2559765" y="2841973"/>
                  <a:pt x="2592000" y="2809738"/>
                  <a:pt x="2592000" y="2769973"/>
                </a:cubicBezTo>
                <a:cubicBezTo>
                  <a:pt x="2592000" y="2730208"/>
                  <a:pt x="2559765" y="2697973"/>
                  <a:pt x="2520000" y="2697973"/>
                </a:cubicBezTo>
                <a:close/>
                <a:moveTo>
                  <a:pt x="720000" y="2366733"/>
                </a:moveTo>
                <a:cubicBezTo>
                  <a:pt x="680235" y="2366733"/>
                  <a:pt x="648000" y="2398968"/>
                  <a:pt x="648000" y="2438733"/>
                </a:cubicBezTo>
                <a:cubicBezTo>
                  <a:pt x="648000" y="2478498"/>
                  <a:pt x="680235" y="2510733"/>
                  <a:pt x="720000" y="2510733"/>
                </a:cubicBezTo>
                <a:lnTo>
                  <a:pt x="2520000" y="2510733"/>
                </a:lnTo>
                <a:cubicBezTo>
                  <a:pt x="2559765" y="2510733"/>
                  <a:pt x="2592000" y="2478498"/>
                  <a:pt x="2592000" y="2438733"/>
                </a:cubicBezTo>
                <a:cubicBezTo>
                  <a:pt x="2592000" y="2398968"/>
                  <a:pt x="2559765" y="2366733"/>
                  <a:pt x="2520000" y="2366733"/>
                </a:cubicBezTo>
                <a:close/>
                <a:moveTo>
                  <a:pt x="720000" y="2035493"/>
                </a:moveTo>
                <a:cubicBezTo>
                  <a:pt x="680235" y="2035493"/>
                  <a:pt x="648000" y="2067728"/>
                  <a:pt x="648000" y="2107493"/>
                </a:cubicBezTo>
                <a:cubicBezTo>
                  <a:pt x="648000" y="2147258"/>
                  <a:pt x="680235" y="2179493"/>
                  <a:pt x="720000" y="2179493"/>
                </a:cubicBezTo>
                <a:lnTo>
                  <a:pt x="2520000" y="2179493"/>
                </a:lnTo>
                <a:cubicBezTo>
                  <a:pt x="2559765" y="2179493"/>
                  <a:pt x="2592000" y="2147258"/>
                  <a:pt x="2592000" y="2107493"/>
                </a:cubicBezTo>
                <a:cubicBezTo>
                  <a:pt x="2592000" y="2067728"/>
                  <a:pt x="2559765" y="2035493"/>
                  <a:pt x="2520000" y="2035493"/>
                </a:cubicBezTo>
                <a:close/>
                <a:moveTo>
                  <a:pt x="720000" y="1704253"/>
                </a:moveTo>
                <a:cubicBezTo>
                  <a:pt x="680235" y="1704253"/>
                  <a:pt x="648000" y="1736488"/>
                  <a:pt x="648000" y="1776253"/>
                </a:cubicBezTo>
                <a:cubicBezTo>
                  <a:pt x="648000" y="1816018"/>
                  <a:pt x="680235" y="1848253"/>
                  <a:pt x="720000" y="1848253"/>
                </a:cubicBezTo>
                <a:lnTo>
                  <a:pt x="2520000" y="1848253"/>
                </a:lnTo>
                <a:cubicBezTo>
                  <a:pt x="2559765" y="1848253"/>
                  <a:pt x="2592000" y="1816018"/>
                  <a:pt x="2592000" y="1776253"/>
                </a:cubicBezTo>
                <a:cubicBezTo>
                  <a:pt x="2592000" y="1736488"/>
                  <a:pt x="2559765" y="1704253"/>
                  <a:pt x="2520000" y="1704253"/>
                </a:cubicBezTo>
                <a:close/>
                <a:moveTo>
                  <a:pt x="720000" y="1373013"/>
                </a:moveTo>
                <a:cubicBezTo>
                  <a:pt x="680235" y="1373013"/>
                  <a:pt x="648000" y="1405248"/>
                  <a:pt x="648000" y="1445013"/>
                </a:cubicBezTo>
                <a:cubicBezTo>
                  <a:pt x="648000" y="1484778"/>
                  <a:pt x="680235" y="1517013"/>
                  <a:pt x="720000" y="1517013"/>
                </a:cubicBezTo>
                <a:lnTo>
                  <a:pt x="2520000" y="1517013"/>
                </a:lnTo>
                <a:cubicBezTo>
                  <a:pt x="2559765" y="1517013"/>
                  <a:pt x="2592000" y="1484778"/>
                  <a:pt x="2592000" y="1445013"/>
                </a:cubicBezTo>
                <a:cubicBezTo>
                  <a:pt x="2592000" y="1405248"/>
                  <a:pt x="2559765" y="1373013"/>
                  <a:pt x="2520000" y="1373013"/>
                </a:cubicBezTo>
                <a:close/>
                <a:moveTo>
                  <a:pt x="720000" y="1041773"/>
                </a:moveTo>
                <a:cubicBezTo>
                  <a:pt x="680235" y="1041773"/>
                  <a:pt x="648000" y="1074008"/>
                  <a:pt x="648000" y="1113773"/>
                </a:cubicBezTo>
                <a:cubicBezTo>
                  <a:pt x="648000" y="1153538"/>
                  <a:pt x="680235" y="1185773"/>
                  <a:pt x="720000" y="1185773"/>
                </a:cubicBezTo>
                <a:lnTo>
                  <a:pt x="2520000" y="1185773"/>
                </a:lnTo>
                <a:cubicBezTo>
                  <a:pt x="2559765" y="1185773"/>
                  <a:pt x="2592000" y="1153538"/>
                  <a:pt x="2592000" y="1113773"/>
                </a:cubicBezTo>
                <a:cubicBezTo>
                  <a:pt x="2592000" y="1074008"/>
                  <a:pt x="2559765" y="1041773"/>
                  <a:pt x="2520000" y="1041773"/>
                </a:cubicBezTo>
                <a:close/>
                <a:moveTo>
                  <a:pt x="0" y="305988"/>
                </a:moveTo>
                <a:lnTo>
                  <a:pt x="181957" y="305988"/>
                </a:lnTo>
                <a:lnTo>
                  <a:pt x="181957" y="470032"/>
                </a:lnTo>
                <a:cubicBezTo>
                  <a:pt x="181957" y="599267"/>
                  <a:pt x="286722" y="704032"/>
                  <a:pt x="415957" y="704032"/>
                </a:cubicBezTo>
                <a:cubicBezTo>
                  <a:pt x="545192" y="704032"/>
                  <a:pt x="649957" y="599267"/>
                  <a:pt x="649957" y="470032"/>
                </a:cubicBezTo>
                <a:lnTo>
                  <a:pt x="649957" y="305988"/>
                </a:lnTo>
                <a:lnTo>
                  <a:pt x="802357" y="305988"/>
                </a:lnTo>
                <a:lnTo>
                  <a:pt x="802357" y="470031"/>
                </a:lnTo>
                <a:cubicBezTo>
                  <a:pt x="802357" y="599266"/>
                  <a:pt x="907122" y="704031"/>
                  <a:pt x="1036357" y="704031"/>
                </a:cubicBezTo>
                <a:cubicBezTo>
                  <a:pt x="1165592" y="704031"/>
                  <a:pt x="1270357" y="599266"/>
                  <a:pt x="1270357" y="470031"/>
                </a:cubicBezTo>
                <a:lnTo>
                  <a:pt x="1270357" y="305988"/>
                </a:lnTo>
                <a:lnTo>
                  <a:pt x="1422757" y="305988"/>
                </a:lnTo>
                <a:lnTo>
                  <a:pt x="1422757" y="470030"/>
                </a:lnTo>
                <a:cubicBezTo>
                  <a:pt x="1422757" y="599265"/>
                  <a:pt x="1527522" y="704030"/>
                  <a:pt x="1656757" y="704030"/>
                </a:cubicBezTo>
                <a:cubicBezTo>
                  <a:pt x="1785992" y="704030"/>
                  <a:pt x="1890757" y="599265"/>
                  <a:pt x="1890757" y="470030"/>
                </a:cubicBezTo>
                <a:lnTo>
                  <a:pt x="1890757" y="305988"/>
                </a:lnTo>
                <a:lnTo>
                  <a:pt x="2043157" y="305988"/>
                </a:lnTo>
                <a:lnTo>
                  <a:pt x="2043157" y="470029"/>
                </a:lnTo>
                <a:cubicBezTo>
                  <a:pt x="2043157" y="599264"/>
                  <a:pt x="2147922" y="704029"/>
                  <a:pt x="2277157" y="704029"/>
                </a:cubicBezTo>
                <a:cubicBezTo>
                  <a:pt x="2406392" y="704029"/>
                  <a:pt x="2511157" y="599264"/>
                  <a:pt x="2511157" y="470029"/>
                </a:cubicBezTo>
                <a:lnTo>
                  <a:pt x="2511157" y="305988"/>
                </a:lnTo>
                <a:lnTo>
                  <a:pt x="2663557" y="305988"/>
                </a:lnTo>
                <a:lnTo>
                  <a:pt x="2663557" y="470028"/>
                </a:lnTo>
                <a:cubicBezTo>
                  <a:pt x="2663557" y="599263"/>
                  <a:pt x="2768322" y="704028"/>
                  <a:pt x="2897557" y="704028"/>
                </a:cubicBezTo>
                <a:cubicBezTo>
                  <a:pt x="3026792" y="704028"/>
                  <a:pt x="3131557" y="599263"/>
                  <a:pt x="3131557" y="470028"/>
                </a:cubicBezTo>
                <a:lnTo>
                  <a:pt x="3131557" y="305988"/>
                </a:lnTo>
                <a:lnTo>
                  <a:pt x="3240000" y="305988"/>
                </a:lnTo>
                <a:lnTo>
                  <a:pt x="3240000" y="3230531"/>
                </a:lnTo>
                <a:lnTo>
                  <a:pt x="0" y="3230531"/>
                </a:lnTo>
                <a:close/>
                <a:moveTo>
                  <a:pt x="415957" y="4"/>
                </a:moveTo>
                <a:cubicBezTo>
                  <a:pt x="485545" y="4"/>
                  <a:pt x="541957" y="56416"/>
                  <a:pt x="541957" y="126004"/>
                </a:cubicBezTo>
                <a:lnTo>
                  <a:pt x="541957" y="485972"/>
                </a:lnTo>
                <a:cubicBezTo>
                  <a:pt x="541957" y="555560"/>
                  <a:pt x="485545" y="611972"/>
                  <a:pt x="415957" y="611972"/>
                </a:cubicBezTo>
                <a:cubicBezTo>
                  <a:pt x="346369" y="611972"/>
                  <a:pt x="289957" y="555560"/>
                  <a:pt x="289957" y="485972"/>
                </a:cubicBezTo>
                <a:lnTo>
                  <a:pt x="289957" y="126004"/>
                </a:lnTo>
                <a:cubicBezTo>
                  <a:pt x="289957" y="56416"/>
                  <a:pt x="346369" y="4"/>
                  <a:pt x="415957" y="4"/>
                </a:cubicBezTo>
                <a:close/>
                <a:moveTo>
                  <a:pt x="1036357" y="3"/>
                </a:moveTo>
                <a:cubicBezTo>
                  <a:pt x="1105945" y="3"/>
                  <a:pt x="1162357" y="56415"/>
                  <a:pt x="1162357" y="126003"/>
                </a:cubicBezTo>
                <a:lnTo>
                  <a:pt x="1162357" y="485971"/>
                </a:lnTo>
                <a:cubicBezTo>
                  <a:pt x="1162357" y="555559"/>
                  <a:pt x="1105945" y="611971"/>
                  <a:pt x="1036357" y="611971"/>
                </a:cubicBezTo>
                <a:cubicBezTo>
                  <a:pt x="966769" y="611971"/>
                  <a:pt x="910357" y="555559"/>
                  <a:pt x="910357" y="485971"/>
                </a:cubicBezTo>
                <a:lnTo>
                  <a:pt x="910357" y="126003"/>
                </a:lnTo>
                <a:cubicBezTo>
                  <a:pt x="910357" y="56415"/>
                  <a:pt x="966769" y="3"/>
                  <a:pt x="1036357" y="3"/>
                </a:cubicBezTo>
                <a:close/>
                <a:moveTo>
                  <a:pt x="1656757" y="2"/>
                </a:moveTo>
                <a:cubicBezTo>
                  <a:pt x="1726345" y="2"/>
                  <a:pt x="1782757" y="56414"/>
                  <a:pt x="1782757" y="126002"/>
                </a:cubicBezTo>
                <a:lnTo>
                  <a:pt x="1782757" y="485970"/>
                </a:lnTo>
                <a:cubicBezTo>
                  <a:pt x="1782757" y="555558"/>
                  <a:pt x="1726345" y="611970"/>
                  <a:pt x="1656757" y="611970"/>
                </a:cubicBezTo>
                <a:cubicBezTo>
                  <a:pt x="1587169" y="611970"/>
                  <a:pt x="1530757" y="555558"/>
                  <a:pt x="1530757" y="485970"/>
                </a:cubicBezTo>
                <a:lnTo>
                  <a:pt x="1530757" y="126002"/>
                </a:lnTo>
                <a:cubicBezTo>
                  <a:pt x="1530757" y="56414"/>
                  <a:pt x="1587169" y="2"/>
                  <a:pt x="1656757" y="2"/>
                </a:cubicBezTo>
                <a:close/>
                <a:moveTo>
                  <a:pt x="2277157" y="1"/>
                </a:moveTo>
                <a:cubicBezTo>
                  <a:pt x="2346745" y="1"/>
                  <a:pt x="2403157" y="56413"/>
                  <a:pt x="2403157" y="126001"/>
                </a:cubicBezTo>
                <a:lnTo>
                  <a:pt x="2403157" y="485969"/>
                </a:lnTo>
                <a:cubicBezTo>
                  <a:pt x="2403157" y="555557"/>
                  <a:pt x="2346745" y="611969"/>
                  <a:pt x="2277157" y="611969"/>
                </a:cubicBezTo>
                <a:cubicBezTo>
                  <a:pt x="2207569" y="611969"/>
                  <a:pt x="2151157" y="555557"/>
                  <a:pt x="2151157" y="485969"/>
                </a:cubicBezTo>
                <a:lnTo>
                  <a:pt x="2151157" y="126001"/>
                </a:lnTo>
                <a:cubicBezTo>
                  <a:pt x="2151157" y="56413"/>
                  <a:pt x="2207569" y="1"/>
                  <a:pt x="2277157" y="1"/>
                </a:cubicBezTo>
                <a:close/>
                <a:moveTo>
                  <a:pt x="2897557" y="0"/>
                </a:moveTo>
                <a:cubicBezTo>
                  <a:pt x="2967145" y="0"/>
                  <a:pt x="3023557" y="56412"/>
                  <a:pt x="3023557" y="126000"/>
                </a:cubicBezTo>
                <a:lnTo>
                  <a:pt x="3023557" y="485968"/>
                </a:lnTo>
                <a:cubicBezTo>
                  <a:pt x="3023557" y="555556"/>
                  <a:pt x="2967145" y="611968"/>
                  <a:pt x="2897557" y="611968"/>
                </a:cubicBezTo>
                <a:cubicBezTo>
                  <a:pt x="2827969" y="611968"/>
                  <a:pt x="2771557" y="555556"/>
                  <a:pt x="2771557" y="485968"/>
                </a:cubicBezTo>
                <a:lnTo>
                  <a:pt x="2771557" y="126000"/>
                </a:lnTo>
                <a:cubicBezTo>
                  <a:pt x="2771557" y="56412"/>
                  <a:pt x="2827969" y="0"/>
                  <a:pt x="289755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1350" dirty="0"/>
          </a:p>
        </p:txBody>
      </p:sp>
      <p:sp>
        <p:nvSpPr>
          <p:cNvPr id="32" name="Frame 17">
            <a:extLst>
              <a:ext uri="{FF2B5EF4-FFF2-40B4-BE49-F238E27FC236}">
                <a16:creationId xmlns:a16="http://schemas.microsoft.com/office/drawing/2014/main" id="{8CE30726-3AE5-41A7-8D31-029754982A69}"/>
              </a:ext>
            </a:extLst>
          </p:cNvPr>
          <p:cNvSpPr/>
          <p:nvPr/>
        </p:nvSpPr>
        <p:spPr>
          <a:xfrm>
            <a:off x="1219696" y="4403422"/>
            <a:ext cx="238826" cy="238826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15456" y="380544"/>
                </a:moveTo>
                <a:lnTo>
                  <a:pt x="415456" y="385333"/>
                </a:lnTo>
                <a:lnTo>
                  <a:pt x="385333" y="385333"/>
                </a:lnTo>
                <a:lnTo>
                  <a:pt x="385333" y="2854667"/>
                </a:lnTo>
                <a:lnTo>
                  <a:pt x="1529120" y="2854667"/>
                </a:lnTo>
                <a:cubicBezTo>
                  <a:pt x="1267123" y="2430711"/>
                  <a:pt x="997530" y="1721825"/>
                  <a:pt x="436017" y="1672600"/>
                </a:cubicBezTo>
                <a:lnTo>
                  <a:pt x="600235" y="1185112"/>
                </a:lnTo>
                <a:cubicBezTo>
                  <a:pt x="1132790" y="1359573"/>
                  <a:pt x="1278822" y="1550851"/>
                  <a:pt x="1544730" y="1923929"/>
                </a:cubicBezTo>
                <a:cubicBezTo>
                  <a:pt x="1789452" y="1379400"/>
                  <a:pt x="1927092" y="1088696"/>
                  <a:pt x="2233403" y="596568"/>
                </a:cubicBezTo>
                <a:lnTo>
                  <a:pt x="2770666" y="596568"/>
                </a:lnTo>
                <a:cubicBezTo>
                  <a:pt x="2331495" y="1220469"/>
                  <a:pt x="1907612" y="2113878"/>
                  <a:pt x="1578489" y="2854667"/>
                </a:cubicBezTo>
                <a:lnTo>
                  <a:pt x="2854667" y="2854667"/>
                </a:lnTo>
                <a:lnTo>
                  <a:pt x="2854667" y="596568"/>
                </a:lnTo>
                <a:lnTo>
                  <a:pt x="2858395" y="596568"/>
                </a:lnTo>
                <a:lnTo>
                  <a:pt x="2858395" y="380544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3240000" y="3240000"/>
                </a:lnTo>
                <a:lnTo>
                  <a:pt x="0" y="324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1350" dirty="0">
              <a:solidFill>
                <a:schemeClr val="tx1"/>
              </a:solidFill>
            </a:endParaRPr>
          </a:p>
        </p:txBody>
      </p:sp>
      <p:sp>
        <p:nvSpPr>
          <p:cNvPr id="33" name="Donut 39">
            <a:extLst>
              <a:ext uri="{FF2B5EF4-FFF2-40B4-BE49-F238E27FC236}">
                <a16:creationId xmlns:a16="http://schemas.microsoft.com/office/drawing/2014/main" id="{07A671EA-06EE-4A30-9930-8514287942A8}"/>
              </a:ext>
            </a:extLst>
          </p:cNvPr>
          <p:cNvSpPr/>
          <p:nvPr/>
        </p:nvSpPr>
        <p:spPr>
          <a:xfrm>
            <a:off x="5489006" y="3528856"/>
            <a:ext cx="303099" cy="303099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1152300" y="922782"/>
                </a:moveTo>
                <a:lnTo>
                  <a:pt x="2354400" y="1620000"/>
                </a:lnTo>
                <a:lnTo>
                  <a:pt x="1152300" y="2317218"/>
                </a:lnTo>
                <a:close/>
                <a:moveTo>
                  <a:pt x="1620000" y="342403"/>
                </a:moveTo>
                <a:cubicBezTo>
                  <a:pt x="914403" y="342403"/>
                  <a:pt x="342403" y="914403"/>
                  <a:pt x="342403" y="1620000"/>
                </a:cubicBezTo>
                <a:cubicBezTo>
                  <a:pt x="342403" y="2325597"/>
                  <a:pt x="914403" y="2897597"/>
                  <a:pt x="1620000" y="2897597"/>
                </a:cubicBezTo>
                <a:cubicBezTo>
                  <a:pt x="2325597" y="2897597"/>
                  <a:pt x="2897597" y="2325597"/>
                  <a:pt x="2897597" y="1620000"/>
                </a:cubicBezTo>
                <a:cubicBezTo>
                  <a:pt x="2897597" y="914403"/>
                  <a:pt x="2325597" y="342403"/>
                  <a:pt x="1620000" y="342403"/>
                </a:cubicBezTo>
                <a:close/>
                <a:moveTo>
                  <a:pt x="1620000" y="0"/>
                </a:moveTo>
                <a:cubicBezTo>
                  <a:pt x="2514701" y="0"/>
                  <a:pt x="3240000" y="725299"/>
                  <a:pt x="3240000" y="1620000"/>
                </a:cubicBezTo>
                <a:cubicBezTo>
                  <a:pt x="3240000" y="2514701"/>
                  <a:pt x="2514701" y="3240000"/>
                  <a:pt x="1620000" y="3240000"/>
                </a:cubicBezTo>
                <a:cubicBezTo>
                  <a:pt x="725299" y="3240000"/>
                  <a:pt x="0" y="2514701"/>
                  <a:pt x="0" y="1620000"/>
                </a:cubicBezTo>
                <a:cubicBezTo>
                  <a:pt x="0" y="725299"/>
                  <a:pt x="725299" y="0"/>
                  <a:pt x="162000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1400" dirty="0">
              <a:solidFill>
                <a:schemeClr val="tx1"/>
              </a:solidFill>
            </a:endParaRPr>
          </a:p>
        </p:txBody>
      </p:sp>
      <p:sp>
        <p:nvSpPr>
          <p:cNvPr id="34" name="Rectangle 130">
            <a:extLst>
              <a:ext uri="{FF2B5EF4-FFF2-40B4-BE49-F238E27FC236}">
                <a16:creationId xmlns:a16="http://schemas.microsoft.com/office/drawing/2014/main" id="{4C66E8C8-B277-494D-8EDE-744E097C510E}"/>
              </a:ext>
            </a:extLst>
          </p:cNvPr>
          <p:cNvSpPr/>
          <p:nvPr/>
        </p:nvSpPr>
        <p:spPr>
          <a:xfrm>
            <a:off x="6093750" y="2731579"/>
            <a:ext cx="253798" cy="254950"/>
          </a:xfrm>
          <a:custGeom>
            <a:avLst/>
            <a:gdLst/>
            <a:ahLst/>
            <a:cxnLst/>
            <a:rect l="l" t="t" r="r" b="b"/>
            <a:pathLst>
              <a:path w="371900" h="373588">
                <a:moveTo>
                  <a:pt x="297080" y="129105"/>
                </a:moveTo>
                <a:lnTo>
                  <a:pt x="284273" y="219737"/>
                </a:lnTo>
                <a:lnTo>
                  <a:pt x="305496" y="219737"/>
                </a:lnTo>
                <a:lnTo>
                  <a:pt x="333001" y="129105"/>
                </a:lnTo>
                <a:close/>
                <a:moveTo>
                  <a:pt x="228265" y="129105"/>
                </a:moveTo>
                <a:lnTo>
                  <a:pt x="228265" y="219737"/>
                </a:lnTo>
                <a:lnTo>
                  <a:pt x="250807" y="219737"/>
                </a:lnTo>
                <a:lnTo>
                  <a:pt x="263614" y="129105"/>
                </a:lnTo>
                <a:close/>
                <a:moveTo>
                  <a:pt x="157021" y="129105"/>
                </a:moveTo>
                <a:lnTo>
                  <a:pt x="175826" y="219737"/>
                </a:lnTo>
                <a:lnTo>
                  <a:pt x="195129" y="219737"/>
                </a:lnTo>
                <a:lnTo>
                  <a:pt x="195129" y="129105"/>
                </a:lnTo>
                <a:close/>
                <a:moveTo>
                  <a:pt x="93087" y="129105"/>
                </a:moveTo>
                <a:lnTo>
                  <a:pt x="117372" y="219737"/>
                </a:lnTo>
                <a:lnTo>
                  <a:pt x="141984" y="219737"/>
                </a:lnTo>
                <a:lnTo>
                  <a:pt x="123179" y="129105"/>
                </a:lnTo>
                <a:close/>
                <a:moveTo>
                  <a:pt x="58494" y="0"/>
                </a:moveTo>
                <a:lnTo>
                  <a:pt x="84208" y="95969"/>
                </a:lnTo>
                <a:lnTo>
                  <a:pt x="354346" y="95969"/>
                </a:lnTo>
                <a:lnTo>
                  <a:pt x="354346" y="97437"/>
                </a:lnTo>
                <a:cubicBezTo>
                  <a:pt x="356087" y="96136"/>
                  <a:pt x="357928" y="96353"/>
                  <a:pt x="359747" y="96905"/>
                </a:cubicBezTo>
                <a:lnTo>
                  <a:pt x="360371" y="97095"/>
                </a:lnTo>
                <a:cubicBezTo>
                  <a:pt x="368954" y="99700"/>
                  <a:pt x="373801" y="108770"/>
                  <a:pt x="371196" y="117354"/>
                </a:cubicBezTo>
                <a:lnTo>
                  <a:pt x="333339" y="242097"/>
                </a:lnTo>
                <a:cubicBezTo>
                  <a:pt x="331591" y="247858"/>
                  <a:pt x="326929" y="251935"/>
                  <a:pt x="321206" y="252122"/>
                </a:cubicBezTo>
                <a:lnTo>
                  <a:pt x="321206" y="252873"/>
                </a:lnTo>
                <a:lnTo>
                  <a:pt x="313576" y="252873"/>
                </a:lnTo>
                <a:cubicBezTo>
                  <a:pt x="313378" y="253010"/>
                  <a:pt x="313229" y="252967"/>
                  <a:pt x="313080" y="252922"/>
                </a:cubicBezTo>
                <a:lnTo>
                  <a:pt x="312919" y="252873"/>
                </a:lnTo>
                <a:lnTo>
                  <a:pt x="126251" y="252873"/>
                </a:lnTo>
                <a:lnTo>
                  <a:pt x="133971" y="281687"/>
                </a:lnTo>
                <a:lnTo>
                  <a:pt x="321075" y="281687"/>
                </a:lnTo>
                <a:lnTo>
                  <a:pt x="321075" y="314823"/>
                </a:lnTo>
                <a:lnTo>
                  <a:pt x="318480" y="314823"/>
                </a:lnTo>
                <a:cubicBezTo>
                  <a:pt x="329614" y="318311"/>
                  <a:pt x="336414" y="328969"/>
                  <a:pt x="336414" y="341215"/>
                </a:cubicBezTo>
                <a:cubicBezTo>
                  <a:pt x="336414" y="359094"/>
                  <a:pt x="321920" y="373588"/>
                  <a:pt x="304041" y="373588"/>
                </a:cubicBezTo>
                <a:cubicBezTo>
                  <a:pt x="286162" y="373588"/>
                  <a:pt x="271668" y="359094"/>
                  <a:pt x="271668" y="341215"/>
                </a:cubicBezTo>
                <a:cubicBezTo>
                  <a:pt x="271668" y="328969"/>
                  <a:pt x="278468" y="318311"/>
                  <a:pt x="289602" y="314823"/>
                </a:cubicBezTo>
                <a:lnTo>
                  <a:pt x="142850" y="314823"/>
                </a:lnTo>
                <a:lnTo>
                  <a:pt x="143397" y="316865"/>
                </a:lnTo>
                <a:cubicBezTo>
                  <a:pt x="151629" y="321811"/>
                  <a:pt x="156401" y="330956"/>
                  <a:pt x="156401" y="341215"/>
                </a:cubicBezTo>
                <a:cubicBezTo>
                  <a:pt x="156401" y="359094"/>
                  <a:pt x="141907" y="373588"/>
                  <a:pt x="124028" y="373588"/>
                </a:cubicBezTo>
                <a:cubicBezTo>
                  <a:pt x="106149" y="373588"/>
                  <a:pt x="91655" y="359094"/>
                  <a:pt x="91655" y="341215"/>
                </a:cubicBezTo>
                <a:cubicBezTo>
                  <a:pt x="91655" y="329356"/>
                  <a:pt x="98032" y="318986"/>
                  <a:pt x="108649" y="315212"/>
                </a:cubicBezTo>
                <a:lnTo>
                  <a:pt x="33542" y="34909"/>
                </a:lnTo>
                <a:lnTo>
                  <a:pt x="0" y="34909"/>
                </a:lnTo>
                <a:lnTo>
                  <a:pt x="0" y="1773"/>
                </a:lnTo>
                <a:lnTo>
                  <a:pt x="51879" y="17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1350" dirty="0">
              <a:solidFill>
                <a:schemeClr val="tx1"/>
              </a:solidFill>
            </a:endParaRPr>
          </a:p>
        </p:txBody>
      </p:sp>
      <p:sp>
        <p:nvSpPr>
          <p:cNvPr id="35" name="Graphic 46">
            <a:extLst>
              <a:ext uri="{FF2B5EF4-FFF2-40B4-BE49-F238E27FC236}">
                <a16:creationId xmlns:a16="http://schemas.microsoft.com/office/drawing/2014/main" id="{7079D4A1-B45F-4140-BF90-DC0D9F88AD59}"/>
              </a:ext>
            </a:extLst>
          </p:cNvPr>
          <p:cNvSpPr/>
          <p:nvPr/>
        </p:nvSpPr>
        <p:spPr>
          <a:xfrm rot="20395817">
            <a:off x="1353148" y="1936950"/>
            <a:ext cx="1767561" cy="2033206"/>
          </a:xfrm>
          <a:custGeom>
            <a:avLst/>
            <a:gdLst>
              <a:gd name="connsiteX0" fmla="*/ 104368 w 5961980"/>
              <a:gd name="connsiteY0" fmla="*/ 2552216 h 6858000"/>
              <a:gd name="connsiteX1" fmla="*/ 255313 w 5961980"/>
              <a:gd name="connsiteY1" fmla="*/ 2883054 h 6858000"/>
              <a:gd name="connsiteX2" fmla="*/ 775694 w 5961980"/>
              <a:gd name="connsiteY2" fmla="*/ 4027203 h 6858000"/>
              <a:gd name="connsiteX3" fmla="*/ 956965 w 5961980"/>
              <a:gd name="connsiteY3" fmla="*/ 4084410 h 6858000"/>
              <a:gd name="connsiteX4" fmla="*/ 1439438 w 5961980"/>
              <a:gd name="connsiteY4" fmla="*/ 3781831 h 6858000"/>
              <a:gd name="connsiteX5" fmla="*/ 2087329 w 5961980"/>
              <a:gd name="connsiteY5" fmla="*/ 3384136 h 6858000"/>
              <a:gd name="connsiteX6" fmla="*/ 2136955 w 5961980"/>
              <a:gd name="connsiteY6" fmla="*/ 3218717 h 6858000"/>
              <a:gd name="connsiteX7" fmla="*/ 2034947 w 5961980"/>
              <a:gd name="connsiteY7" fmla="*/ 2971967 h 6858000"/>
              <a:gd name="connsiteX8" fmla="*/ 1844025 w 5961980"/>
              <a:gd name="connsiteY8" fmla="*/ 2617005 h 6858000"/>
              <a:gd name="connsiteX9" fmla="*/ 2038393 w 5961980"/>
              <a:gd name="connsiteY9" fmla="*/ 2572204 h 6858000"/>
              <a:gd name="connsiteX10" fmla="*/ 2122481 w 5961980"/>
              <a:gd name="connsiteY10" fmla="*/ 2191740 h 6858000"/>
              <a:gd name="connsiteX11" fmla="*/ 2136955 w 5961980"/>
              <a:gd name="connsiteY11" fmla="*/ 2158656 h 6858000"/>
              <a:gd name="connsiteX12" fmla="*/ 2451941 w 5961980"/>
              <a:gd name="connsiteY12" fmla="*/ 1705132 h 6858000"/>
              <a:gd name="connsiteX13" fmla="*/ 2638037 w 5961980"/>
              <a:gd name="connsiteY13" fmla="*/ 1526617 h 6858000"/>
              <a:gd name="connsiteX14" fmla="*/ 3055031 w 5961980"/>
              <a:gd name="connsiteY14" fmla="*/ 1408756 h 6858000"/>
              <a:gd name="connsiteX15" fmla="*/ 3072262 w 5961980"/>
              <a:gd name="connsiteY15" fmla="*/ 1435637 h 6858000"/>
              <a:gd name="connsiteX16" fmla="*/ 3000581 w 5961980"/>
              <a:gd name="connsiteY16" fmla="*/ 1607259 h 6858000"/>
              <a:gd name="connsiteX17" fmla="*/ 2736599 w 5961980"/>
              <a:gd name="connsiteY17" fmla="*/ 1895364 h 6858000"/>
              <a:gd name="connsiteX18" fmla="*/ 2685595 w 5961980"/>
              <a:gd name="connsiteY18" fmla="*/ 1956018 h 6858000"/>
              <a:gd name="connsiteX19" fmla="*/ 2171417 w 5961980"/>
              <a:gd name="connsiteY19" fmla="*/ 2837564 h 6858000"/>
              <a:gd name="connsiteX20" fmla="*/ 2163147 w 5961980"/>
              <a:gd name="connsiteY20" fmla="*/ 2894771 h 6858000"/>
              <a:gd name="connsiteX21" fmla="*/ 2234828 w 5961980"/>
              <a:gd name="connsiteY21" fmla="*/ 3050541 h 6858000"/>
              <a:gd name="connsiteX22" fmla="*/ 2400247 w 5961980"/>
              <a:gd name="connsiteY22" fmla="*/ 3365526 h 6858000"/>
              <a:gd name="connsiteX23" fmla="*/ 2658025 w 5961980"/>
              <a:gd name="connsiteY23" fmla="*/ 3505443 h 6858000"/>
              <a:gd name="connsiteX24" fmla="*/ 2691109 w 5961980"/>
              <a:gd name="connsiteY24" fmla="*/ 3768046 h 6858000"/>
              <a:gd name="connsiteX25" fmla="*/ 2600129 w 5961980"/>
              <a:gd name="connsiteY25" fmla="*/ 4579978 h 6858000"/>
              <a:gd name="connsiteX26" fmla="*/ 2482267 w 5961980"/>
              <a:gd name="connsiteY26" fmla="*/ 4634429 h 6858000"/>
              <a:gd name="connsiteX27" fmla="*/ 2179688 w 5961980"/>
              <a:gd name="connsiteY27" fmla="*/ 4865326 h 6858000"/>
              <a:gd name="connsiteX28" fmla="*/ 1788197 w 5961980"/>
              <a:gd name="connsiteY28" fmla="*/ 5180312 h 6858000"/>
              <a:gd name="connsiteX29" fmla="*/ 1668957 w 5961980"/>
              <a:gd name="connsiteY29" fmla="*/ 5269225 h 6858000"/>
              <a:gd name="connsiteX30" fmla="*/ 1225082 w 5961980"/>
              <a:gd name="connsiteY30" fmla="*/ 5487026 h 6858000"/>
              <a:gd name="connsiteX31" fmla="*/ 950073 w 5961980"/>
              <a:gd name="connsiteY31" fmla="*/ 5563533 h 6858000"/>
              <a:gd name="connsiteX32" fmla="*/ 735028 w 5961980"/>
              <a:gd name="connsiteY32" fmla="*/ 5601441 h 6858000"/>
              <a:gd name="connsiteX33" fmla="*/ 697120 w 5961980"/>
              <a:gd name="connsiteY33" fmla="*/ 5637971 h 6858000"/>
              <a:gd name="connsiteX34" fmla="*/ 722622 w 5961980"/>
              <a:gd name="connsiteY34" fmla="*/ 6007407 h 6858000"/>
              <a:gd name="connsiteX35" fmla="*/ 760530 w 5961980"/>
              <a:gd name="connsiteY35" fmla="*/ 6177651 h 6858000"/>
              <a:gd name="connsiteX36" fmla="*/ 1001077 w 5961980"/>
              <a:gd name="connsiteY36" fmla="*/ 6801419 h 6858000"/>
              <a:gd name="connsiteX37" fmla="*/ 1114114 w 5961980"/>
              <a:gd name="connsiteY37" fmla="*/ 6858626 h 6858000"/>
              <a:gd name="connsiteX38" fmla="*/ 1206473 w 5961980"/>
              <a:gd name="connsiteY38" fmla="*/ 6733183 h 6858000"/>
              <a:gd name="connsiteX39" fmla="*/ 1205094 w 5961980"/>
              <a:gd name="connsiteY39" fmla="*/ 6647028 h 6858000"/>
              <a:gd name="connsiteX40" fmla="*/ 1217501 w 5961980"/>
              <a:gd name="connsiteY40" fmla="*/ 6236237 h 6858000"/>
              <a:gd name="connsiteX41" fmla="*/ 1292628 w 5961980"/>
              <a:gd name="connsiteY41" fmla="*/ 6021192 h 6858000"/>
              <a:gd name="connsiteX42" fmla="*/ 1644144 w 5961980"/>
              <a:gd name="connsiteY42" fmla="*/ 6234169 h 6858000"/>
              <a:gd name="connsiteX43" fmla="*/ 1704798 w 5961980"/>
              <a:gd name="connsiteY43" fmla="*/ 6085981 h 6858000"/>
              <a:gd name="connsiteX44" fmla="*/ 1854364 w 5961980"/>
              <a:gd name="connsiteY44" fmla="*/ 5802701 h 6858000"/>
              <a:gd name="connsiteX45" fmla="*/ 2161768 w 5961980"/>
              <a:gd name="connsiteY45" fmla="*/ 5616605 h 6858000"/>
              <a:gd name="connsiteX46" fmla="*/ 2683527 w 5961980"/>
              <a:gd name="connsiteY46" fmla="*/ 5433265 h 6858000"/>
              <a:gd name="connsiteX47" fmla="*/ 3032286 w 5961980"/>
              <a:gd name="connsiteY47" fmla="*/ 5191340 h 6858000"/>
              <a:gd name="connsiteX48" fmla="*/ 3356921 w 5961980"/>
              <a:gd name="connsiteY48" fmla="*/ 4594452 h 6858000"/>
              <a:gd name="connsiteX49" fmla="*/ 3667082 w 5961980"/>
              <a:gd name="connsiteY49" fmla="*/ 4026514 h 6858000"/>
              <a:gd name="connsiteX50" fmla="*/ 3770469 w 5961980"/>
              <a:gd name="connsiteY50" fmla="*/ 4004458 h 6858000"/>
              <a:gd name="connsiteX51" fmla="*/ 4011016 w 5961980"/>
              <a:gd name="connsiteY51" fmla="*/ 4098195 h 6858000"/>
              <a:gd name="connsiteX52" fmla="*/ 4375627 w 5961980"/>
              <a:gd name="connsiteY52" fmla="*/ 4195379 h 6858000"/>
              <a:gd name="connsiteX53" fmla="*/ 4574819 w 5961980"/>
              <a:gd name="connsiteY53" fmla="*/ 4418006 h 6858000"/>
              <a:gd name="connsiteX54" fmla="*/ 4605146 w 5961980"/>
              <a:gd name="connsiteY54" fmla="*/ 4470388 h 6858000"/>
              <a:gd name="connsiteX55" fmla="*/ 4640298 w 5961980"/>
              <a:gd name="connsiteY55" fmla="*/ 4528974 h 6858000"/>
              <a:gd name="connsiteX56" fmla="*/ 4700951 w 5961980"/>
              <a:gd name="connsiteY56" fmla="*/ 4766075 h 6858000"/>
              <a:gd name="connsiteX57" fmla="*/ 4711290 w 5961980"/>
              <a:gd name="connsiteY57" fmla="*/ 4903235 h 6858000"/>
              <a:gd name="connsiteX58" fmla="*/ 4705087 w 5961980"/>
              <a:gd name="connsiteY58" fmla="*/ 4996972 h 6858000"/>
              <a:gd name="connsiteX59" fmla="*/ 4776079 w 5961980"/>
              <a:gd name="connsiteY59" fmla="*/ 5296105 h 6858000"/>
              <a:gd name="connsiteX60" fmla="*/ 4862924 w 5961980"/>
              <a:gd name="connsiteY60" fmla="*/ 5763414 h 6858000"/>
              <a:gd name="connsiteX61" fmla="*/ 4932538 w 5961980"/>
              <a:gd name="connsiteY61" fmla="*/ 5762036 h 6858000"/>
              <a:gd name="connsiteX62" fmla="*/ 4912550 w 5961980"/>
              <a:gd name="connsiteY62" fmla="*/ 6119065 h 6858000"/>
              <a:gd name="connsiteX63" fmla="*/ 4938052 w 5961980"/>
              <a:gd name="connsiteY63" fmla="*/ 6387182 h 6858000"/>
              <a:gd name="connsiteX64" fmla="*/ 5117256 w 5961980"/>
              <a:gd name="connsiteY64" fmla="*/ 6368572 h 6858000"/>
              <a:gd name="connsiteX65" fmla="*/ 5117256 w 5961980"/>
              <a:gd name="connsiteY65" fmla="*/ 6294134 h 6858000"/>
              <a:gd name="connsiteX66" fmla="*/ 5196519 w 5961980"/>
              <a:gd name="connsiteY66" fmla="*/ 6356166 h 6858000"/>
              <a:gd name="connsiteX67" fmla="*/ 5927120 w 5961980"/>
              <a:gd name="connsiteY67" fmla="*/ 6380290 h 6858000"/>
              <a:gd name="connsiteX68" fmla="*/ 5947798 w 5961980"/>
              <a:gd name="connsiteY68" fmla="*/ 6221763 h 6858000"/>
              <a:gd name="connsiteX69" fmla="*/ 5865088 w 5961980"/>
              <a:gd name="connsiteY69" fmla="*/ 6142500 h 6858000"/>
              <a:gd name="connsiteX70" fmla="*/ 5526668 w 5961980"/>
              <a:gd name="connsiteY70" fmla="*/ 6039802 h 6858000"/>
              <a:gd name="connsiteX71" fmla="*/ 5442580 w 5961980"/>
              <a:gd name="connsiteY71" fmla="*/ 5971566 h 6858000"/>
              <a:gd name="connsiteX72" fmla="*/ 5267512 w 5961980"/>
              <a:gd name="connsiteY72" fmla="*/ 5766171 h 6858000"/>
              <a:gd name="connsiteX73" fmla="*/ 5269579 w 5961980"/>
              <a:gd name="connsiteY73" fmla="*/ 5570425 h 6858000"/>
              <a:gd name="connsiteX74" fmla="*/ 5175842 w 5961980"/>
              <a:gd name="connsiteY74" fmla="*/ 4633050 h 6858000"/>
              <a:gd name="connsiteX75" fmla="*/ 5210993 w 5961980"/>
              <a:gd name="connsiteY75" fmla="*/ 4263614 h 6858000"/>
              <a:gd name="connsiteX76" fmla="*/ 5159989 w 5961980"/>
              <a:gd name="connsiteY76" fmla="*/ 4025135 h 6858000"/>
              <a:gd name="connsiteX77" fmla="*/ 4742995 w 5961980"/>
              <a:gd name="connsiteY77" fmla="*/ 3665348 h 6858000"/>
              <a:gd name="connsiteX78" fmla="*/ 4226061 w 5961980"/>
              <a:gd name="connsiteY78" fmla="*/ 3253179 h 6858000"/>
              <a:gd name="connsiteX79" fmla="*/ 4222615 w 5961980"/>
              <a:gd name="connsiteY79" fmla="*/ 3187701 h 6858000"/>
              <a:gd name="connsiteX80" fmla="*/ 4273619 w 5961980"/>
              <a:gd name="connsiteY80" fmla="*/ 3034688 h 6858000"/>
              <a:gd name="connsiteX81" fmla="*/ 4330826 w 5961980"/>
              <a:gd name="connsiteY81" fmla="*/ 2977481 h 6858000"/>
              <a:gd name="connsiteX82" fmla="*/ 4521747 w 5961980"/>
              <a:gd name="connsiteY82" fmla="*/ 2982305 h 6858000"/>
              <a:gd name="connsiteX83" fmla="*/ 5043507 w 5961980"/>
              <a:gd name="connsiteY83" fmla="*/ 3069840 h 6858000"/>
              <a:gd name="connsiteX84" fmla="*/ 5336436 w 5961980"/>
              <a:gd name="connsiteY84" fmla="*/ 2810683 h 6858000"/>
              <a:gd name="connsiteX85" fmla="*/ 5412942 w 5961980"/>
              <a:gd name="connsiteY85" fmla="*/ 2791384 h 6858000"/>
              <a:gd name="connsiteX86" fmla="*/ 5736199 w 5961980"/>
              <a:gd name="connsiteY86" fmla="*/ 2665941 h 6858000"/>
              <a:gd name="connsiteX87" fmla="*/ 5793406 w 5961980"/>
              <a:gd name="connsiteY87" fmla="*/ 2605288 h 6858000"/>
              <a:gd name="connsiteX88" fmla="*/ 5777554 w 5961980"/>
              <a:gd name="connsiteY88" fmla="*/ 2584610 h 6858000"/>
              <a:gd name="connsiteX89" fmla="*/ 5562509 w 5961980"/>
              <a:gd name="connsiteY89" fmla="*/ 2629411 h 6858000"/>
              <a:gd name="connsiteX90" fmla="*/ 5625920 w 5961980"/>
              <a:gd name="connsiteY90" fmla="*/ 2588057 h 6858000"/>
              <a:gd name="connsiteX91" fmla="*/ 5810638 w 5961980"/>
              <a:gd name="connsiteY91" fmla="*/ 2500522 h 6858000"/>
              <a:gd name="connsiteX92" fmla="*/ 5845789 w 5961980"/>
              <a:gd name="connsiteY92" fmla="*/ 2433665 h 6858000"/>
              <a:gd name="connsiteX93" fmla="*/ 5778932 w 5961980"/>
              <a:gd name="connsiteY93" fmla="*/ 2433665 h 6858000"/>
              <a:gd name="connsiteX94" fmla="*/ 5680370 w 5961980"/>
              <a:gd name="connsiteY94" fmla="*/ 2478466 h 6858000"/>
              <a:gd name="connsiteX95" fmla="*/ 5672099 w 5961980"/>
              <a:gd name="connsiteY95" fmla="*/ 2462614 h 6858000"/>
              <a:gd name="connsiteX96" fmla="*/ 5850614 w 5961980"/>
              <a:gd name="connsiteY96" fmla="*/ 2325454 h 6858000"/>
              <a:gd name="connsiteX97" fmla="*/ 5831315 w 5961980"/>
              <a:gd name="connsiteY97" fmla="*/ 2293748 h 6858000"/>
              <a:gd name="connsiteX98" fmla="*/ 5546656 w 5961980"/>
              <a:gd name="connsiteY98" fmla="*/ 2419191 h 6858000"/>
              <a:gd name="connsiteX99" fmla="*/ 5707251 w 5961980"/>
              <a:gd name="connsiteY99" fmla="*/ 2273071 h 6858000"/>
              <a:gd name="connsiteX100" fmla="*/ 5738956 w 5961980"/>
              <a:gd name="connsiteY100" fmla="*/ 2202768 h 6858000"/>
              <a:gd name="connsiteX101" fmla="*/ 5656247 w 5961980"/>
              <a:gd name="connsiteY101" fmla="*/ 2208971 h 6858000"/>
              <a:gd name="connsiteX102" fmla="*/ 5484624 w 5961980"/>
              <a:gd name="connsiteY102" fmla="*/ 2348888 h 6858000"/>
              <a:gd name="connsiteX103" fmla="*/ 5333679 w 5961980"/>
              <a:gd name="connsiteY103" fmla="*/ 2398514 h 6858000"/>
              <a:gd name="connsiteX104" fmla="*/ 5303353 w 5961980"/>
              <a:gd name="connsiteY104" fmla="*/ 2164859 h 6858000"/>
              <a:gd name="connsiteX105" fmla="*/ 5153786 w 5961980"/>
              <a:gd name="connsiteY105" fmla="*/ 2524646 h 6858000"/>
              <a:gd name="connsiteX106" fmla="*/ 5072455 w 5961980"/>
              <a:gd name="connsiteY106" fmla="*/ 2579096 h 6858000"/>
              <a:gd name="connsiteX107" fmla="*/ 4809852 w 5961980"/>
              <a:gd name="connsiteY107" fmla="*/ 2582543 h 6858000"/>
              <a:gd name="connsiteX108" fmla="*/ 4718872 w 5961980"/>
              <a:gd name="connsiteY108" fmla="*/ 2581164 h 6858000"/>
              <a:gd name="connsiteX109" fmla="*/ 4554831 w 5961980"/>
              <a:gd name="connsiteY109" fmla="*/ 2576339 h 6858000"/>
              <a:gd name="connsiteX110" fmla="*/ 4438349 w 5961980"/>
              <a:gd name="connsiteY110" fmla="*/ 2482602 h 6858000"/>
              <a:gd name="connsiteX111" fmla="*/ 4459026 w 5961980"/>
              <a:gd name="connsiteY111" fmla="*/ 2087664 h 6858000"/>
              <a:gd name="connsiteX112" fmla="*/ 4462472 w 5961980"/>
              <a:gd name="connsiteY112" fmla="*/ 1867794 h 6858000"/>
              <a:gd name="connsiteX113" fmla="*/ 4349436 w 5961980"/>
              <a:gd name="connsiteY113" fmla="*/ 1296409 h 6858000"/>
              <a:gd name="connsiteX114" fmla="*/ 4452823 w 5961980"/>
              <a:gd name="connsiteY114" fmla="*/ 1175791 h 6858000"/>
              <a:gd name="connsiteX115" fmla="*/ 4653393 w 5961980"/>
              <a:gd name="connsiteY115" fmla="*/ 1037252 h 6858000"/>
              <a:gd name="connsiteX116" fmla="*/ 4818813 w 5961980"/>
              <a:gd name="connsiteY116" fmla="*/ 900093 h 6858000"/>
              <a:gd name="connsiteX117" fmla="*/ 4823637 w 5961980"/>
              <a:gd name="connsiteY117" fmla="*/ 862184 h 6858000"/>
              <a:gd name="connsiteX118" fmla="*/ 4827083 w 5961980"/>
              <a:gd name="connsiteY118" fmla="*/ 553402 h 6858000"/>
              <a:gd name="connsiteX119" fmla="*/ 4842936 w 5961980"/>
              <a:gd name="connsiteY119" fmla="*/ 405214 h 6858000"/>
              <a:gd name="connsiteX120" fmla="*/ 4763673 w 5961980"/>
              <a:gd name="connsiteY120" fmla="*/ 143989 h 6858000"/>
              <a:gd name="connsiteX121" fmla="*/ 4494867 w 5961980"/>
              <a:gd name="connsiteY121" fmla="*/ 15100 h 6858000"/>
              <a:gd name="connsiteX122" fmla="*/ 4197112 w 5961980"/>
              <a:gd name="connsiteY122" fmla="*/ 73686 h 6858000"/>
              <a:gd name="connsiteX123" fmla="*/ 4009637 w 5961980"/>
              <a:gd name="connsiteY123" fmla="*/ 367994 h 6858000"/>
              <a:gd name="connsiteX124" fmla="*/ 3992406 w 5961980"/>
              <a:gd name="connsiteY124" fmla="*/ 724335 h 6858000"/>
              <a:gd name="connsiteX125" fmla="*/ 3947605 w 5961980"/>
              <a:gd name="connsiteY125" fmla="*/ 760865 h 6858000"/>
              <a:gd name="connsiteX126" fmla="*/ 3396897 w 5961980"/>
              <a:gd name="connsiteY126" fmla="*/ 705036 h 6858000"/>
              <a:gd name="connsiteX127" fmla="*/ 3078465 w 5961980"/>
              <a:gd name="connsiteY127" fmla="*/ 800841 h 6858000"/>
              <a:gd name="connsiteX128" fmla="*/ 2664918 w 5961980"/>
              <a:gd name="connsiteY128" fmla="*/ 810491 h 6858000"/>
              <a:gd name="connsiteX129" fmla="*/ 2494674 w 5961980"/>
              <a:gd name="connsiteY129" fmla="*/ 872523 h 6858000"/>
              <a:gd name="connsiteX130" fmla="*/ 2092154 w 5961980"/>
              <a:gd name="connsiteY130" fmla="*/ 1350170 h 6858000"/>
              <a:gd name="connsiteX131" fmla="*/ 1743395 w 5961980"/>
              <a:gd name="connsiteY131" fmla="*/ 1800248 h 6858000"/>
              <a:gd name="connsiteX132" fmla="*/ 1744774 w 5961980"/>
              <a:gd name="connsiteY132" fmla="*/ 1865726 h 6858000"/>
              <a:gd name="connsiteX133" fmla="*/ 1800603 w 5961980"/>
              <a:gd name="connsiteY133" fmla="*/ 1921555 h 6858000"/>
              <a:gd name="connsiteX134" fmla="*/ 1805428 w 5961980"/>
              <a:gd name="connsiteY134" fmla="*/ 2005644 h 6858000"/>
              <a:gd name="connsiteX135" fmla="*/ 1636562 w 5961980"/>
              <a:gd name="connsiteY135" fmla="*/ 2145561 h 6858000"/>
              <a:gd name="connsiteX136" fmla="*/ 1423585 w 5961980"/>
              <a:gd name="connsiteY136" fmla="*/ 1706511 h 6858000"/>
              <a:gd name="connsiteX137" fmla="*/ 1243692 w 5961980"/>
              <a:gd name="connsiteY137" fmla="*/ 1507318 h 6858000"/>
              <a:gd name="connsiteX138" fmla="*/ 1138926 w 5961980"/>
              <a:gd name="connsiteY138" fmla="*/ 1577622 h 6858000"/>
              <a:gd name="connsiteX139" fmla="*/ 18901 w 5961980"/>
              <a:gd name="connsiteY139" fmla="*/ 2269625 h 6858000"/>
              <a:gd name="connsiteX140" fmla="*/ 3049 w 5961980"/>
              <a:gd name="connsiteY140" fmla="*/ 2335103 h 6858000"/>
              <a:gd name="connsiteX141" fmla="*/ 104368 w 5961980"/>
              <a:gd name="connsiteY141" fmla="*/ 2552216 h 6858000"/>
              <a:gd name="connsiteX142" fmla="*/ 104368 w 5961980"/>
              <a:gd name="connsiteY142" fmla="*/ 2552216 h 6858000"/>
              <a:gd name="connsiteX143" fmla="*/ 1692391 w 5961980"/>
              <a:gd name="connsiteY143" fmla="*/ 2187605 h 6858000"/>
              <a:gd name="connsiteX144" fmla="*/ 1711690 w 5961980"/>
              <a:gd name="connsiteY144" fmla="*/ 2198633 h 6858000"/>
              <a:gd name="connsiteX145" fmla="*/ 1867460 w 5961980"/>
              <a:gd name="connsiteY145" fmla="*/ 2526714 h 6858000"/>
              <a:gd name="connsiteX146" fmla="*/ 1822659 w 5961980"/>
              <a:gd name="connsiteY146" fmla="*/ 2557041 h 6858000"/>
              <a:gd name="connsiteX147" fmla="*/ 1681363 w 5961980"/>
              <a:gd name="connsiteY147" fmla="*/ 2256529 h 6858000"/>
              <a:gd name="connsiteX148" fmla="*/ 1692391 w 5961980"/>
              <a:gd name="connsiteY148" fmla="*/ 2187605 h 6858000"/>
              <a:gd name="connsiteX149" fmla="*/ 1692391 w 5961980"/>
              <a:gd name="connsiteY149" fmla="*/ 218760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5961980" h="6858000">
                <a:moveTo>
                  <a:pt x="104368" y="2552216"/>
                </a:moveTo>
                <a:cubicBezTo>
                  <a:pt x="155372" y="2661806"/>
                  <a:pt x="204309" y="2773464"/>
                  <a:pt x="255313" y="2883054"/>
                </a:cubicBezTo>
                <a:cubicBezTo>
                  <a:pt x="429003" y="3264896"/>
                  <a:pt x="602004" y="3645360"/>
                  <a:pt x="775694" y="4027203"/>
                </a:cubicBezTo>
                <a:cubicBezTo>
                  <a:pt x="801196" y="4083032"/>
                  <a:pt x="903204" y="4119562"/>
                  <a:pt x="956965" y="4084410"/>
                </a:cubicBezTo>
                <a:cubicBezTo>
                  <a:pt x="1117560" y="3984469"/>
                  <a:pt x="1278154" y="3882461"/>
                  <a:pt x="1439438" y="3781831"/>
                </a:cubicBezTo>
                <a:cubicBezTo>
                  <a:pt x="1654483" y="3648117"/>
                  <a:pt x="1868838" y="3514404"/>
                  <a:pt x="2087329" y="3384136"/>
                </a:cubicBezTo>
                <a:cubicBezTo>
                  <a:pt x="2189338" y="3323482"/>
                  <a:pt x="2189338" y="3328307"/>
                  <a:pt x="2136955" y="3218717"/>
                </a:cubicBezTo>
                <a:cubicBezTo>
                  <a:pt x="2099046" y="3139454"/>
                  <a:pt x="2073544" y="3051919"/>
                  <a:pt x="2034947" y="2971967"/>
                </a:cubicBezTo>
                <a:cubicBezTo>
                  <a:pt x="1977739" y="2855484"/>
                  <a:pt x="1912261" y="2744515"/>
                  <a:pt x="1844025" y="2617005"/>
                </a:cubicBezTo>
                <a:cubicBezTo>
                  <a:pt x="1917085" y="2599774"/>
                  <a:pt x="1971536" y="2588057"/>
                  <a:pt x="2038393" y="2572204"/>
                </a:cubicBezTo>
                <a:cubicBezTo>
                  <a:pt x="2079748" y="2465371"/>
                  <a:pt x="2159011" y="2343374"/>
                  <a:pt x="2122481" y="2191740"/>
                </a:cubicBezTo>
                <a:cubicBezTo>
                  <a:pt x="2121102" y="2182090"/>
                  <a:pt x="2130752" y="2167616"/>
                  <a:pt x="2136955" y="2158656"/>
                </a:cubicBezTo>
                <a:cubicBezTo>
                  <a:pt x="2241721" y="2007711"/>
                  <a:pt x="2342351" y="1853320"/>
                  <a:pt x="2451941" y="1705132"/>
                </a:cubicBezTo>
                <a:cubicBezTo>
                  <a:pt x="2502945" y="1636897"/>
                  <a:pt x="2563599" y="1559012"/>
                  <a:pt x="2638037" y="1526617"/>
                </a:cubicBezTo>
                <a:cubicBezTo>
                  <a:pt x="2770372" y="1470788"/>
                  <a:pt x="2915114" y="1447354"/>
                  <a:pt x="3055031" y="1408756"/>
                </a:cubicBezTo>
                <a:cubicBezTo>
                  <a:pt x="3061234" y="1418406"/>
                  <a:pt x="3066059" y="1425987"/>
                  <a:pt x="3072262" y="1435637"/>
                </a:cubicBezTo>
                <a:cubicBezTo>
                  <a:pt x="3050206" y="1492844"/>
                  <a:pt x="3037111" y="1559701"/>
                  <a:pt x="3000581" y="1607259"/>
                </a:cubicBezTo>
                <a:cubicBezTo>
                  <a:pt x="2921317" y="1710646"/>
                  <a:pt x="2860664" y="1833332"/>
                  <a:pt x="2736599" y="1895364"/>
                </a:cubicBezTo>
                <a:cubicBezTo>
                  <a:pt x="2714544" y="1906392"/>
                  <a:pt x="2700069" y="1933273"/>
                  <a:pt x="2685595" y="1956018"/>
                </a:cubicBezTo>
                <a:cubicBezTo>
                  <a:pt x="2513973" y="2250326"/>
                  <a:pt x="2341661" y="2543256"/>
                  <a:pt x="2171417" y="2837564"/>
                </a:cubicBezTo>
                <a:cubicBezTo>
                  <a:pt x="2161768" y="2853416"/>
                  <a:pt x="2155565" y="2888568"/>
                  <a:pt x="2163147" y="2894771"/>
                </a:cubicBezTo>
                <a:cubicBezTo>
                  <a:pt x="2214151" y="2937504"/>
                  <a:pt x="2209326" y="3001604"/>
                  <a:pt x="2234828" y="3050541"/>
                </a:cubicBezTo>
                <a:cubicBezTo>
                  <a:pt x="2290657" y="3155306"/>
                  <a:pt x="2317538" y="3271789"/>
                  <a:pt x="2400247" y="3365526"/>
                </a:cubicBezTo>
                <a:cubicBezTo>
                  <a:pt x="2473307" y="3446857"/>
                  <a:pt x="2540164" y="3513714"/>
                  <a:pt x="2658025" y="3505443"/>
                </a:cubicBezTo>
                <a:cubicBezTo>
                  <a:pt x="2673878" y="3594356"/>
                  <a:pt x="2707651" y="3670862"/>
                  <a:pt x="2691109" y="3768046"/>
                </a:cubicBezTo>
                <a:cubicBezTo>
                  <a:pt x="2648376" y="4036852"/>
                  <a:pt x="2629077" y="4309105"/>
                  <a:pt x="2600129" y="4579978"/>
                </a:cubicBezTo>
                <a:cubicBezTo>
                  <a:pt x="2546367" y="4594452"/>
                  <a:pt x="2498120" y="4605481"/>
                  <a:pt x="2482267" y="4634429"/>
                </a:cubicBezTo>
                <a:cubicBezTo>
                  <a:pt x="2411964" y="4753669"/>
                  <a:pt x="2287900" y="4810876"/>
                  <a:pt x="2179688" y="4865326"/>
                </a:cubicBezTo>
                <a:cubicBezTo>
                  <a:pt x="2021851" y="4944589"/>
                  <a:pt x="1904679" y="5056247"/>
                  <a:pt x="1788197" y="5180312"/>
                </a:cubicBezTo>
                <a:cubicBezTo>
                  <a:pt x="1755113" y="5216842"/>
                  <a:pt x="1711690" y="5247169"/>
                  <a:pt x="1668957" y="5269225"/>
                </a:cubicBezTo>
                <a:cubicBezTo>
                  <a:pt x="1522837" y="5344352"/>
                  <a:pt x="1371202" y="5412588"/>
                  <a:pt x="1225082" y="5487026"/>
                </a:cubicBezTo>
                <a:cubicBezTo>
                  <a:pt x="1137548" y="5529760"/>
                  <a:pt x="1059663" y="5580764"/>
                  <a:pt x="950073" y="5563533"/>
                </a:cubicBezTo>
                <a:cubicBezTo>
                  <a:pt x="881838" y="5552505"/>
                  <a:pt x="806710" y="5585588"/>
                  <a:pt x="735028" y="5601441"/>
                </a:cubicBezTo>
                <a:cubicBezTo>
                  <a:pt x="720554" y="5604888"/>
                  <a:pt x="706080" y="5623497"/>
                  <a:pt x="697120" y="5637971"/>
                </a:cubicBezTo>
                <a:cubicBezTo>
                  <a:pt x="665414" y="5688975"/>
                  <a:pt x="669550" y="5990176"/>
                  <a:pt x="722622" y="6007407"/>
                </a:cubicBezTo>
                <a:cubicBezTo>
                  <a:pt x="856335" y="6050830"/>
                  <a:pt x="763976" y="6125269"/>
                  <a:pt x="760530" y="6177651"/>
                </a:cubicBezTo>
                <a:cubicBezTo>
                  <a:pt x="744678" y="6424401"/>
                  <a:pt x="843240" y="6624972"/>
                  <a:pt x="1001077" y="6801419"/>
                </a:cubicBezTo>
                <a:cubicBezTo>
                  <a:pt x="1027958" y="6831746"/>
                  <a:pt x="1093436" y="6869654"/>
                  <a:pt x="1114114" y="6858626"/>
                </a:cubicBezTo>
                <a:cubicBezTo>
                  <a:pt x="1155468" y="6834503"/>
                  <a:pt x="1184417" y="6780742"/>
                  <a:pt x="1206473" y="6733183"/>
                </a:cubicBezTo>
                <a:cubicBezTo>
                  <a:pt x="1217501" y="6711128"/>
                  <a:pt x="1211297" y="6675976"/>
                  <a:pt x="1205094" y="6647028"/>
                </a:cubicBezTo>
                <a:cubicBezTo>
                  <a:pt x="1174767" y="6508489"/>
                  <a:pt x="1167186" y="6372019"/>
                  <a:pt x="1217501" y="6236237"/>
                </a:cubicBezTo>
                <a:cubicBezTo>
                  <a:pt x="1244381" y="6163177"/>
                  <a:pt x="1269883" y="6088049"/>
                  <a:pt x="1292628" y="6021192"/>
                </a:cubicBezTo>
                <a:cubicBezTo>
                  <a:pt x="1404286" y="6088049"/>
                  <a:pt x="1517323" y="6158352"/>
                  <a:pt x="1644144" y="6234169"/>
                </a:cubicBezTo>
                <a:cubicBezTo>
                  <a:pt x="1669646" y="6170759"/>
                  <a:pt x="1685499" y="6127336"/>
                  <a:pt x="1704798" y="6085981"/>
                </a:cubicBezTo>
                <a:cubicBezTo>
                  <a:pt x="1752356" y="5988797"/>
                  <a:pt x="1782682" y="5875761"/>
                  <a:pt x="1854364" y="5802701"/>
                </a:cubicBezTo>
                <a:cubicBezTo>
                  <a:pt x="1937074" y="5719991"/>
                  <a:pt x="2051488" y="5662784"/>
                  <a:pt x="2161768" y="5616605"/>
                </a:cubicBezTo>
                <a:cubicBezTo>
                  <a:pt x="2332012" y="5544923"/>
                  <a:pt x="2510527" y="5493919"/>
                  <a:pt x="2683527" y="5433265"/>
                </a:cubicBezTo>
                <a:cubicBezTo>
                  <a:pt x="2823444" y="5385707"/>
                  <a:pt x="2957158" y="5329878"/>
                  <a:pt x="3032286" y="5191340"/>
                </a:cubicBezTo>
                <a:cubicBezTo>
                  <a:pt x="3141876" y="4992148"/>
                  <a:pt x="3250088" y="4793645"/>
                  <a:pt x="3356921" y="4594452"/>
                </a:cubicBezTo>
                <a:cubicBezTo>
                  <a:pt x="3458929" y="4403531"/>
                  <a:pt x="3528543" y="4198136"/>
                  <a:pt x="3667082" y="4026514"/>
                </a:cubicBezTo>
                <a:cubicBezTo>
                  <a:pt x="3703612" y="3980334"/>
                  <a:pt x="3725668" y="3983780"/>
                  <a:pt x="3770469" y="4004458"/>
                </a:cubicBezTo>
                <a:cubicBezTo>
                  <a:pt x="3848353" y="4039609"/>
                  <a:pt x="3929685" y="4074761"/>
                  <a:pt x="4011016" y="4098195"/>
                </a:cubicBezTo>
                <a:cubicBezTo>
                  <a:pt x="4131634" y="4134725"/>
                  <a:pt x="4259145" y="4149199"/>
                  <a:pt x="4375627" y="4195379"/>
                </a:cubicBezTo>
                <a:cubicBezTo>
                  <a:pt x="4469365" y="4233288"/>
                  <a:pt x="4590672" y="4270507"/>
                  <a:pt x="4574819" y="4418006"/>
                </a:cubicBezTo>
                <a:cubicBezTo>
                  <a:pt x="4573441" y="4433858"/>
                  <a:pt x="4594118" y="4453157"/>
                  <a:pt x="4605146" y="4470388"/>
                </a:cubicBezTo>
                <a:cubicBezTo>
                  <a:pt x="4616174" y="4489687"/>
                  <a:pt x="4634094" y="4508297"/>
                  <a:pt x="4640298" y="4528974"/>
                </a:cubicBezTo>
                <a:cubicBezTo>
                  <a:pt x="4662354" y="4606859"/>
                  <a:pt x="4676828" y="4688190"/>
                  <a:pt x="4700951" y="4766075"/>
                </a:cubicBezTo>
                <a:cubicBezTo>
                  <a:pt x="4716804" y="4817079"/>
                  <a:pt x="4749198" y="4858434"/>
                  <a:pt x="4711290" y="4903235"/>
                </a:cubicBezTo>
                <a:cubicBezTo>
                  <a:pt x="4694059" y="4922534"/>
                  <a:pt x="4696816" y="4968713"/>
                  <a:pt x="4705087" y="4996972"/>
                </a:cubicBezTo>
                <a:cubicBezTo>
                  <a:pt x="4734035" y="5096913"/>
                  <a:pt x="4745752" y="5196164"/>
                  <a:pt x="4776079" y="5296105"/>
                </a:cubicBezTo>
                <a:cubicBezTo>
                  <a:pt x="4801581" y="5383639"/>
                  <a:pt x="4836044" y="5677259"/>
                  <a:pt x="4862924" y="5763414"/>
                </a:cubicBezTo>
                <a:cubicBezTo>
                  <a:pt x="4877398" y="5808215"/>
                  <a:pt x="4922889" y="5717924"/>
                  <a:pt x="4932538" y="5762036"/>
                </a:cubicBezTo>
                <a:cubicBezTo>
                  <a:pt x="4964243" y="5906777"/>
                  <a:pt x="4958729" y="5970877"/>
                  <a:pt x="4912550" y="6119065"/>
                </a:cubicBezTo>
                <a:cubicBezTo>
                  <a:pt x="4896697" y="6171448"/>
                  <a:pt x="4936673" y="6327907"/>
                  <a:pt x="4938052" y="6387182"/>
                </a:cubicBezTo>
                <a:lnTo>
                  <a:pt x="5117256" y="6368572"/>
                </a:lnTo>
                <a:cubicBezTo>
                  <a:pt x="5117256" y="6368572"/>
                  <a:pt x="5117256" y="6335489"/>
                  <a:pt x="5117256" y="6294134"/>
                </a:cubicBezTo>
                <a:cubicBezTo>
                  <a:pt x="5158611" y="6283795"/>
                  <a:pt x="5117256" y="6299648"/>
                  <a:pt x="5196519" y="6356166"/>
                </a:cubicBezTo>
                <a:cubicBezTo>
                  <a:pt x="5317827" y="6368572"/>
                  <a:pt x="5459122" y="6432672"/>
                  <a:pt x="5927120" y="6380290"/>
                </a:cubicBezTo>
                <a:cubicBezTo>
                  <a:pt x="5975368" y="6366505"/>
                  <a:pt x="5967786" y="6283106"/>
                  <a:pt x="5947798" y="6221763"/>
                </a:cubicBezTo>
                <a:cubicBezTo>
                  <a:pt x="5938148" y="6191436"/>
                  <a:pt x="5898172" y="6139053"/>
                  <a:pt x="5865088" y="6142500"/>
                </a:cubicBezTo>
                <a:cubicBezTo>
                  <a:pt x="5710697" y="6153527"/>
                  <a:pt x="5641083" y="6149392"/>
                  <a:pt x="5526668" y="6039802"/>
                </a:cubicBezTo>
                <a:cubicBezTo>
                  <a:pt x="5499788" y="6014300"/>
                  <a:pt x="5474286" y="5981216"/>
                  <a:pt x="5442580" y="5971566"/>
                </a:cubicBezTo>
                <a:cubicBezTo>
                  <a:pt x="5334369" y="5942618"/>
                  <a:pt x="5297839" y="5853705"/>
                  <a:pt x="5267512" y="5766171"/>
                </a:cubicBezTo>
                <a:cubicBezTo>
                  <a:pt x="5237185" y="5678637"/>
                  <a:pt x="5288189" y="5662784"/>
                  <a:pt x="5269579" y="5570425"/>
                </a:cubicBezTo>
                <a:cubicBezTo>
                  <a:pt x="5210993" y="5285766"/>
                  <a:pt x="5162746" y="4919088"/>
                  <a:pt x="5175842" y="4633050"/>
                </a:cubicBezTo>
                <a:cubicBezTo>
                  <a:pt x="5182045" y="4510364"/>
                  <a:pt x="5208926" y="4387679"/>
                  <a:pt x="5210993" y="4263614"/>
                </a:cubicBezTo>
                <a:cubicBezTo>
                  <a:pt x="5210993" y="4182283"/>
                  <a:pt x="5204790" y="4083721"/>
                  <a:pt x="5159989" y="4025135"/>
                </a:cubicBezTo>
                <a:cubicBezTo>
                  <a:pt x="5048331" y="3876947"/>
                  <a:pt x="4896008" y="3770803"/>
                  <a:pt x="4742995" y="3665348"/>
                </a:cubicBezTo>
                <a:cubicBezTo>
                  <a:pt x="4561723" y="3539906"/>
                  <a:pt x="4396304" y="3393096"/>
                  <a:pt x="4226061" y="3253179"/>
                </a:cubicBezTo>
                <a:cubicBezTo>
                  <a:pt x="4215033" y="3243530"/>
                  <a:pt x="4217790" y="3208378"/>
                  <a:pt x="4222615" y="3187701"/>
                </a:cubicBezTo>
                <a:cubicBezTo>
                  <a:pt x="4237089" y="3136697"/>
                  <a:pt x="4263969" y="3087760"/>
                  <a:pt x="4273619" y="3034688"/>
                </a:cubicBezTo>
                <a:cubicBezTo>
                  <a:pt x="4279822" y="2996780"/>
                  <a:pt x="4290850" y="2977481"/>
                  <a:pt x="4330826" y="2977481"/>
                </a:cubicBezTo>
                <a:cubicBezTo>
                  <a:pt x="4394237" y="2978859"/>
                  <a:pt x="4458336" y="2972656"/>
                  <a:pt x="4521747" y="2982305"/>
                </a:cubicBezTo>
                <a:cubicBezTo>
                  <a:pt x="4696816" y="3007808"/>
                  <a:pt x="4871884" y="3039513"/>
                  <a:pt x="5043507" y="3069840"/>
                </a:cubicBezTo>
                <a:cubicBezTo>
                  <a:pt x="5091065" y="2925098"/>
                  <a:pt x="5142069" y="2787938"/>
                  <a:pt x="5336436" y="2810683"/>
                </a:cubicBezTo>
                <a:cubicBezTo>
                  <a:pt x="5360560" y="2814129"/>
                  <a:pt x="5387441" y="2801034"/>
                  <a:pt x="5412942" y="2791384"/>
                </a:cubicBezTo>
                <a:cubicBezTo>
                  <a:pt x="5521154" y="2750030"/>
                  <a:pt x="5629366" y="2710053"/>
                  <a:pt x="5736199" y="2665941"/>
                </a:cubicBezTo>
                <a:cubicBezTo>
                  <a:pt x="5760323" y="2656292"/>
                  <a:pt x="5774108" y="2625965"/>
                  <a:pt x="5793406" y="2605288"/>
                </a:cubicBezTo>
                <a:cubicBezTo>
                  <a:pt x="5788582" y="2599084"/>
                  <a:pt x="5782379" y="2590814"/>
                  <a:pt x="5777554" y="2584610"/>
                </a:cubicBezTo>
                <a:cubicBezTo>
                  <a:pt x="5714143" y="2599084"/>
                  <a:pt x="5648665" y="2611491"/>
                  <a:pt x="5562509" y="2629411"/>
                </a:cubicBezTo>
                <a:cubicBezTo>
                  <a:pt x="5595593" y="2607356"/>
                  <a:pt x="5608689" y="2596328"/>
                  <a:pt x="5625920" y="2588057"/>
                </a:cubicBezTo>
                <a:cubicBezTo>
                  <a:pt x="5687952" y="2557730"/>
                  <a:pt x="5751363" y="2533606"/>
                  <a:pt x="5810638" y="2500522"/>
                </a:cubicBezTo>
                <a:cubicBezTo>
                  <a:pt x="5829936" y="2489494"/>
                  <a:pt x="5834761" y="2455721"/>
                  <a:pt x="5845789" y="2433665"/>
                </a:cubicBezTo>
                <a:cubicBezTo>
                  <a:pt x="5823733" y="2433665"/>
                  <a:pt x="5799610" y="2427462"/>
                  <a:pt x="5778932" y="2433665"/>
                </a:cubicBezTo>
                <a:cubicBezTo>
                  <a:pt x="5745849" y="2444693"/>
                  <a:pt x="5713454" y="2463992"/>
                  <a:pt x="5680370" y="2478466"/>
                </a:cubicBezTo>
                <a:cubicBezTo>
                  <a:pt x="5676924" y="2473642"/>
                  <a:pt x="5675546" y="2468817"/>
                  <a:pt x="5672099" y="2462614"/>
                </a:cubicBezTo>
                <a:cubicBezTo>
                  <a:pt x="5730685" y="2416434"/>
                  <a:pt x="5789960" y="2371633"/>
                  <a:pt x="5850614" y="2325454"/>
                </a:cubicBezTo>
                <a:cubicBezTo>
                  <a:pt x="5844411" y="2314426"/>
                  <a:pt x="5838207" y="2303398"/>
                  <a:pt x="5831315" y="2293748"/>
                </a:cubicBezTo>
                <a:cubicBezTo>
                  <a:pt x="5716900" y="2284099"/>
                  <a:pt x="5646597" y="2387486"/>
                  <a:pt x="5546656" y="2419191"/>
                </a:cubicBezTo>
                <a:cubicBezTo>
                  <a:pt x="5597661" y="2366809"/>
                  <a:pt x="5654868" y="2322008"/>
                  <a:pt x="5707251" y="2273071"/>
                </a:cubicBezTo>
                <a:cubicBezTo>
                  <a:pt x="5724482" y="2257219"/>
                  <a:pt x="5727928" y="2226892"/>
                  <a:pt x="5738956" y="2202768"/>
                </a:cubicBezTo>
                <a:cubicBezTo>
                  <a:pt x="5710008" y="2204146"/>
                  <a:pt x="5675546" y="2194497"/>
                  <a:pt x="5656247" y="2208971"/>
                </a:cubicBezTo>
                <a:cubicBezTo>
                  <a:pt x="5595593" y="2250326"/>
                  <a:pt x="5541832" y="2302709"/>
                  <a:pt x="5484624" y="2348888"/>
                </a:cubicBezTo>
                <a:cubicBezTo>
                  <a:pt x="5441891" y="2384040"/>
                  <a:pt x="5400536" y="2430219"/>
                  <a:pt x="5333679" y="2398514"/>
                </a:cubicBezTo>
                <a:cubicBezTo>
                  <a:pt x="5373656" y="2248947"/>
                  <a:pt x="5364006" y="2194497"/>
                  <a:pt x="5303353" y="2164859"/>
                </a:cubicBezTo>
                <a:cubicBezTo>
                  <a:pt x="5253727" y="2284099"/>
                  <a:pt x="5207547" y="2406785"/>
                  <a:pt x="5153786" y="2524646"/>
                </a:cubicBezTo>
                <a:cubicBezTo>
                  <a:pt x="5142758" y="2550148"/>
                  <a:pt x="5101403" y="2575650"/>
                  <a:pt x="5072455" y="2579096"/>
                </a:cubicBezTo>
                <a:cubicBezTo>
                  <a:pt x="4984921" y="2585300"/>
                  <a:pt x="4897386" y="2582543"/>
                  <a:pt x="4809852" y="2582543"/>
                </a:cubicBezTo>
                <a:cubicBezTo>
                  <a:pt x="4779525" y="2582543"/>
                  <a:pt x="4749198" y="2582543"/>
                  <a:pt x="4718872" y="2581164"/>
                </a:cubicBezTo>
                <a:cubicBezTo>
                  <a:pt x="4665110" y="2579786"/>
                  <a:pt x="4609282" y="2570136"/>
                  <a:pt x="4554831" y="2576339"/>
                </a:cubicBezTo>
                <a:cubicBezTo>
                  <a:pt x="4499002" y="2584610"/>
                  <a:pt x="4435591" y="2536363"/>
                  <a:pt x="4438349" y="2482602"/>
                </a:cubicBezTo>
                <a:cubicBezTo>
                  <a:pt x="4446620" y="2350267"/>
                  <a:pt x="4452823" y="2218621"/>
                  <a:pt x="4459026" y="2087664"/>
                </a:cubicBezTo>
                <a:cubicBezTo>
                  <a:pt x="4462472" y="2014604"/>
                  <a:pt x="4474878" y="1939476"/>
                  <a:pt x="4462472" y="1867794"/>
                </a:cubicBezTo>
                <a:cubicBezTo>
                  <a:pt x="4430767" y="1676873"/>
                  <a:pt x="4387344" y="1487330"/>
                  <a:pt x="4349436" y="1296409"/>
                </a:cubicBezTo>
                <a:cubicBezTo>
                  <a:pt x="4330137" y="1197847"/>
                  <a:pt x="4357707" y="1172345"/>
                  <a:pt x="4452823" y="1175791"/>
                </a:cubicBezTo>
                <a:cubicBezTo>
                  <a:pt x="4572062" y="1179237"/>
                  <a:pt x="4602389" y="1146843"/>
                  <a:pt x="4653393" y="1037252"/>
                </a:cubicBezTo>
                <a:cubicBezTo>
                  <a:pt x="4683720" y="971774"/>
                  <a:pt x="4725075" y="902160"/>
                  <a:pt x="4818813" y="900093"/>
                </a:cubicBezTo>
                <a:cubicBezTo>
                  <a:pt x="4820191" y="887686"/>
                  <a:pt x="4827083" y="873212"/>
                  <a:pt x="4823637" y="862184"/>
                </a:cubicBezTo>
                <a:cubicBezTo>
                  <a:pt x="4794689" y="758797"/>
                  <a:pt x="4806406" y="656789"/>
                  <a:pt x="4827083" y="553402"/>
                </a:cubicBezTo>
                <a:cubicBezTo>
                  <a:pt x="4836733" y="503776"/>
                  <a:pt x="4827083" y="451393"/>
                  <a:pt x="4842936" y="405214"/>
                </a:cubicBezTo>
                <a:cubicBezTo>
                  <a:pt x="4878088" y="297002"/>
                  <a:pt x="4858789" y="203265"/>
                  <a:pt x="4763673" y="143989"/>
                </a:cubicBezTo>
                <a:cubicBezTo>
                  <a:pt x="4679585" y="91607"/>
                  <a:pt x="4588604" y="45427"/>
                  <a:pt x="4494867" y="15100"/>
                </a:cubicBezTo>
                <a:cubicBezTo>
                  <a:pt x="4390101" y="-20051"/>
                  <a:pt x="4291539" y="8897"/>
                  <a:pt x="4197112" y="73686"/>
                </a:cubicBezTo>
                <a:cubicBezTo>
                  <a:pt x="4092347" y="146746"/>
                  <a:pt x="4050992" y="259783"/>
                  <a:pt x="4009637" y="367994"/>
                </a:cubicBezTo>
                <a:cubicBezTo>
                  <a:pt x="3966904" y="479652"/>
                  <a:pt x="3946226" y="598892"/>
                  <a:pt x="3992406" y="724335"/>
                </a:cubicBezTo>
                <a:cubicBezTo>
                  <a:pt x="3981378" y="733984"/>
                  <a:pt x="3963458" y="748458"/>
                  <a:pt x="3947605" y="760865"/>
                </a:cubicBezTo>
                <a:cubicBezTo>
                  <a:pt x="3778740" y="609920"/>
                  <a:pt x="3525786" y="573390"/>
                  <a:pt x="3396897" y="705036"/>
                </a:cubicBezTo>
                <a:cubicBezTo>
                  <a:pt x="3301092" y="803598"/>
                  <a:pt x="3181852" y="776717"/>
                  <a:pt x="3078465" y="800841"/>
                </a:cubicBezTo>
                <a:cubicBezTo>
                  <a:pt x="2946130" y="831168"/>
                  <a:pt x="2801389" y="802220"/>
                  <a:pt x="2664918" y="810491"/>
                </a:cubicBezTo>
                <a:cubicBezTo>
                  <a:pt x="2606332" y="813937"/>
                  <a:pt x="2531204" y="831168"/>
                  <a:pt x="2494674" y="872523"/>
                </a:cubicBezTo>
                <a:cubicBezTo>
                  <a:pt x="2353379" y="1025535"/>
                  <a:pt x="2222422" y="1187508"/>
                  <a:pt x="2092154" y="1350170"/>
                </a:cubicBezTo>
                <a:cubicBezTo>
                  <a:pt x="1972914" y="1498358"/>
                  <a:pt x="1858500" y="1647925"/>
                  <a:pt x="1743395" y="1800248"/>
                </a:cubicBezTo>
                <a:cubicBezTo>
                  <a:pt x="1732368" y="1814722"/>
                  <a:pt x="1735124" y="1847806"/>
                  <a:pt x="1744774" y="1865726"/>
                </a:cubicBezTo>
                <a:cubicBezTo>
                  <a:pt x="1755802" y="1887782"/>
                  <a:pt x="1777858" y="1907081"/>
                  <a:pt x="1800603" y="1921555"/>
                </a:cubicBezTo>
                <a:cubicBezTo>
                  <a:pt x="1841958" y="1950504"/>
                  <a:pt x="1843336" y="1976006"/>
                  <a:pt x="1805428" y="2005644"/>
                </a:cubicBezTo>
                <a:cubicBezTo>
                  <a:pt x="1749599" y="2051823"/>
                  <a:pt x="1693770" y="2098003"/>
                  <a:pt x="1636562" y="2145561"/>
                </a:cubicBezTo>
                <a:cubicBezTo>
                  <a:pt x="1563502" y="1995994"/>
                  <a:pt x="1482171" y="1856077"/>
                  <a:pt x="1423585" y="1706511"/>
                </a:cubicBezTo>
                <a:cubicBezTo>
                  <a:pt x="1385677" y="1612773"/>
                  <a:pt x="1326401" y="1550741"/>
                  <a:pt x="1243692" y="1507318"/>
                </a:cubicBezTo>
                <a:cubicBezTo>
                  <a:pt x="1208540" y="1531442"/>
                  <a:pt x="1173389" y="1554876"/>
                  <a:pt x="1138926" y="1577622"/>
                </a:cubicBezTo>
                <a:cubicBezTo>
                  <a:pt x="760530" y="1805073"/>
                  <a:pt x="387648" y="2035970"/>
                  <a:pt x="18901" y="2269625"/>
                </a:cubicBezTo>
                <a:cubicBezTo>
                  <a:pt x="4427" y="2279274"/>
                  <a:pt x="-5222" y="2317183"/>
                  <a:pt x="3049" y="2335103"/>
                </a:cubicBezTo>
                <a:cubicBezTo>
                  <a:pt x="31308" y="2410231"/>
                  <a:pt x="71284" y="2480534"/>
                  <a:pt x="104368" y="2552216"/>
                </a:cubicBezTo>
                <a:lnTo>
                  <a:pt x="104368" y="2552216"/>
                </a:lnTo>
                <a:close/>
                <a:moveTo>
                  <a:pt x="1692391" y="2187605"/>
                </a:moveTo>
                <a:cubicBezTo>
                  <a:pt x="1698594" y="2191051"/>
                  <a:pt x="1704798" y="2193808"/>
                  <a:pt x="1711690" y="2198633"/>
                </a:cubicBezTo>
                <a:cubicBezTo>
                  <a:pt x="1762694" y="2305466"/>
                  <a:pt x="1813699" y="2411610"/>
                  <a:pt x="1867460" y="2526714"/>
                </a:cubicBezTo>
                <a:cubicBezTo>
                  <a:pt x="1868838" y="2525335"/>
                  <a:pt x="1851607" y="2537742"/>
                  <a:pt x="1822659" y="2557041"/>
                </a:cubicBezTo>
                <a:cubicBezTo>
                  <a:pt x="1773033" y="2453654"/>
                  <a:pt x="1725475" y="2356470"/>
                  <a:pt x="1681363" y="2256529"/>
                </a:cubicBezTo>
                <a:cubicBezTo>
                  <a:pt x="1673782" y="2238609"/>
                  <a:pt x="1687567" y="2210350"/>
                  <a:pt x="1692391" y="2187605"/>
                </a:cubicBezTo>
                <a:lnTo>
                  <a:pt x="1692391" y="2187605"/>
                </a:lnTo>
                <a:close/>
              </a:path>
            </a:pathLst>
          </a:custGeom>
          <a:solidFill>
            <a:schemeClr val="accent3"/>
          </a:solidFill>
          <a:ln w="68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1ED341D2-EC90-265F-6062-E735A0B1E4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02933" y="0"/>
            <a:ext cx="1189067" cy="1204814"/>
          </a:xfrm>
          <a:prstGeom prst="rect">
            <a:avLst/>
          </a:prstGeom>
        </p:spPr>
      </p:pic>
      <p:sp>
        <p:nvSpPr>
          <p:cNvPr id="28" name="Title 1">
            <a:extLst>
              <a:ext uri="{FF2B5EF4-FFF2-40B4-BE49-F238E27FC236}">
                <a16:creationId xmlns:a16="http://schemas.microsoft.com/office/drawing/2014/main" id="{879EBC47-523E-8C66-F809-1EF2062940EA}"/>
              </a:ext>
            </a:extLst>
          </p:cNvPr>
          <p:cNvSpPr txBox="1">
            <a:spLocks/>
          </p:cNvSpPr>
          <p:nvPr/>
        </p:nvSpPr>
        <p:spPr>
          <a:xfrm>
            <a:off x="850745" y="232258"/>
            <a:ext cx="9276522" cy="532606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rgbClr val="004C8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ZA" dirty="0"/>
              <a:t>RLA On AEO Application Process</a:t>
            </a:r>
            <a:endParaRPr lang="en-ZA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49826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ED8E62-CC88-A600-D353-626A068A57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5313" y="94646"/>
            <a:ext cx="8406222" cy="532606"/>
          </a:xfrm>
        </p:spPr>
        <p:txBody>
          <a:bodyPr anchor="t">
            <a:noAutofit/>
          </a:bodyPr>
          <a:lstStyle/>
          <a:p>
            <a:r>
              <a:rPr lang="en-ZA" dirty="0"/>
              <a:t>RLA On AEO Application Benefi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0A9A50-C61D-2398-D0F1-DE38C18C7A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65993" y="6429827"/>
            <a:ext cx="20574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540B12B-D968-2643-8E7F-238A3C456CC9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 dirty="0"/>
          </a:p>
        </p:txBody>
      </p:sp>
      <p:graphicFrame>
        <p:nvGraphicFramePr>
          <p:cNvPr id="6" name="Text Placeholder 3">
            <a:extLst>
              <a:ext uri="{FF2B5EF4-FFF2-40B4-BE49-F238E27FC236}">
                <a16:creationId xmlns:a16="http://schemas.microsoft.com/office/drawing/2014/main" id="{705E7F29-A871-2DC4-9B39-028FCDB2B84A}"/>
              </a:ext>
            </a:extLst>
          </p:cNvPr>
          <p:cNvGraphicFramePr/>
          <p:nvPr/>
        </p:nvGraphicFramePr>
        <p:xfrm>
          <a:off x="1865314" y="1304925"/>
          <a:ext cx="5281565" cy="42481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B9732B0-EF72-F0EF-0C17-4BB2A4EF53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47132" y="1304925"/>
            <a:ext cx="2567859" cy="42481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75B106A-DBB9-6AEE-1BAD-F58D5D0A92A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93287" y="0"/>
            <a:ext cx="1222513" cy="1222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608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7923E-30DD-3320-9BCB-68071215E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5121" y="177154"/>
            <a:ext cx="8084229" cy="532606"/>
          </a:xfr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/>
              <a:t>Transitional Arrange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687E03-B733-6A61-3FEF-6539E0B6DA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65993" y="6429827"/>
            <a:ext cx="20574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540B12B-D968-2643-8E7F-238A3C456CC9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53DCF0-BD90-BF51-737F-EBA607A3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55121" y="1040014"/>
            <a:ext cx="7976817" cy="754551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200" dirty="0">
                <a:latin typeface="+mn-lt"/>
              </a:rPr>
              <a:t>The e-Filing submission system is scheduled to go live on </a:t>
            </a:r>
            <a:r>
              <a:rPr lang="en-US" sz="2200" u="sng" dirty="0">
                <a:latin typeface="+mn-lt"/>
              </a:rPr>
              <a:t>08</a:t>
            </a:r>
            <a:r>
              <a:rPr lang="en-US" sz="2200" u="sng" baseline="30000" dirty="0">
                <a:latin typeface="+mn-lt"/>
              </a:rPr>
              <a:t>th</a:t>
            </a:r>
            <a:r>
              <a:rPr lang="en-US" sz="2200" u="sng" dirty="0">
                <a:latin typeface="+mn-lt"/>
              </a:rPr>
              <a:t>  December 2023</a:t>
            </a:r>
            <a:endParaRPr lang="en-US" altLang="ko-KR" sz="2200" dirty="0">
              <a:latin typeface="+mn-lt"/>
            </a:endParaRPr>
          </a:p>
          <a:p>
            <a:endParaRPr lang="en-US" sz="1600" dirty="0"/>
          </a:p>
        </p:txBody>
      </p:sp>
      <p:graphicFrame>
        <p:nvGraphicFramePr>
          <p:cNvPr id="9" name="TextBox 6">
            <a:extLst>
              <a:ext uri="{FF2B5EF4-FFF2-40B4-BE49-F238E27FC236}">
                <a16:creationId xmlns:a16="http://schemas.microsoft.com/office/drawing/2014/main" id="{C0B56595-F7B5-DC57-29BE-97BB4A4728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6986599"/>
              </p:ext>
            </p:extLst>
          </p:nvPr>
        </p:nvGraphicFramePr>
        <p:xfrm>
          <a:off x="1955121" y="1490321"/>
          <a:ext cx="8370887" cy="42481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8B6E83BE-008A-F954-C148-84A9CBED58C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44809" y="239474"/>
            <a:ext cx="1340234" cy="880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9142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DE4735-0A68-4FAE-846A-852712DEB2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40B12B-D968-2643-8E7F-238A3C456CC9}" type="slidenum">
              <a:rPr lang="en-US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C900BF-919F-4686-BC94-9879425C10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24000" y="775011"/>
            <a:ext cx="8687807" cy="4420454"/>
          </a:xfrm>
          <a:solidFill>
            <a:schemeClr val="bg2"/>
          </a:solidFill>
        </p:spPr>
        <p:txBody>
          <a:bodyPr>
            <a:normAutofit lnSpcReduction="10000"/>
          </a:bodyPr>
          <a:lstStyle/>
          <a:p>
            <a:pPr marL="285750" indent="-285750" fontAlgn="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ZA" b="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e’ve made it easier for you. Go Digital! </a:t>
            </a:r>
          </a:p>
          <a:p>
            <a:pPr fontAlgn="t">
              <a:lnSpc>
                <a:spcPct val="150000"/>
              </a:lnSpc>
            </a:pPr>
            <a:endParaRPr lang="en-ZA" b="1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742950" lvl="1" indent="-285750" fontAlgn="t">
              <a:buFont typeface="Arial" charset="0"/>
              <a:buChar char="•"/>
            </a:pPr>
            <a:r>
              <a:rPr lang="en-ZA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gister for eFiling</a:t>
            </a:r>
            <a:endParaRPr lang="en-ZA" dirty="0">
              <a:solidFill>
                <a:schemeClr val="bg2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marL="742950" lvl="1" indent="-285750" fontAlgn="t">
              <a:buFont typeface="Arial" charset="0"/>
              <a:buChar char="•"/>
            </a:pPr>
            <a:r>
              <a:rPr lang="en-ZA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ARS Online Query System (SOQS)</a:t>
            </a:r>
          </a:p>
          <a:p>
            <a:pPr marL="742950" lvl="1" indent="-285750" fontAlgn="t">
              <a:buFont typeface="Arial" charset="0"/>
              <a:buChar char="•"/>
            </a:pPr>
            <a:r>
              <a:rPr lang="en-ZA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board to RLA System</a:t>
            </a:r>
            <a:endParaRPr lang="en-ZA" dirty="0">
              <a:solidFill>
                <a:schemeClr val="bg2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lvl="1" fontAlgn="t"/>
            <a:endParaRPr lang="en-ZA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en-ZA" b="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sit us on our Social Media platforms</a:t>
            </a:r>
            <a:endParaRPr lang="en-ZA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742950" lvl="1" indent="-285750" fontAlgn="t">
              <a:buFont typeface="Arial" panose="020B0604020202020204" pitchFamily="34" charset="0"/>
              <a:buChar char="•"/>
            </a:pPr>
            <a:endParaRPr lang="en-ZA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742950" lvl="1" indent="-285750" fontAlgn="t">
              <a:buFont typeface="Arial" panose="020B0604020202020204" pitchFamily="34" charset="0"/>
              <a:buChar char="•"/>
            </a:pPr>
            <a:r>
              <a:rPr lang="en-ZA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nkedIn</a:t>
            </a:r>
          </a:p>
          <a:p>
            <a:pPr lvl="1" fontAlgn="t"/>
            <a:endParaRPr lang="en-ZA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742950" lvl="1" indent="-285750" fontAlgn="t">
              <a:buFont typeface="Arial" panose="020B0604020202020204" pitchFamily="34" charset="0"/>
              <a:buChar char="•"/>
            </a:pPr>
            <a:r>
              <a:rPr lang="en-ZA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acebook</a:t>
            </a:r>
          </a:p>
          <a:p>
            <a:pPr marL="742950" lvl="1" indent="-285750" fontAlgn="t">
              <a:buFont typeface="Arial" panose="020B0604020202020204" pitchFamily="34" charset="0"/>
              <a:buChar char="•"/>
            </a:pPr>
            <a:endParaRPr lang="en-ZA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742950" lvl="1" indent="-285750" fontAlgn="t">
              <a:buFont typeface="Arial" panose="020B0604020202020204" pitchFamily="34" charset="0"/>
              <a:buChar char="•"/>
            </a:pPr>
            <a:r>
              <a:rPr lang="en-ZA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X</a:t>
            </a:r>
          </a:p>
          <a:p>
            <a:pPr lvl="1" fontAlgn="t"/>
            <a:br>
              <a:rPr lang="en-ZA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ZA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Z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ounded Rectangle 2">
            <a:extLst>
              <a:ext uri="{FF2B5EF4-FFF2-40B4-BE49-F238E27FC236}">
                <a16:creationId xmlns:a16="http://schemas.microsoft.com/office/drawing/2014/main" id="{682CC6EA-5D73-4CD1-A45E-C00785A9FA79}"/>
              </a:ext>
            </a:extLst>
          </p:cNvPr>
          <p:cNvSpPr/>
          <p:nvPr/>
        </p:nvSpPr>
        <p:spPr>
          <a:xfrm>
            <a:off x="1524000" y="4600487"/>
            <a:ext cx="8687807" cy="1592634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fontAlgn="t">
              <a:defRPr/>
            </a:pPr>
            <a:endParaRPr lang="en-ZA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t">
              <a:defRPr/>
            </a:pPr>
            <a:endParaRPr lang="en-ZA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fontAlgn="t">
              <a:buFont typeface="Wingdings" panose="05000000000000000000" pitchFamily="2" charset="2"/>
              <a:buChar char="§"/>
              <a:defRPr/>
            </a:pPr>
            <a:r>
              <a:rPr lang="en-ZA" dirty="0">
                <a:solidFill>
                  <a:prstClr val="black"/>
                </a:solidFill>
                <a:cs typeface="Arial" panose="020B0604020202020204" pitchFamily="34" charset="0"/>
              </a:rPr>
              <a:t>For more information, visit:</a:t>
            </a:r>
          </a:p>
          <a:p>
            <a:pPr marL="285750" indent="-285750" fontAlgn="t">
              <a:buFont typeface="Wingdings" panose="05000000000000000000" pitchFamily="2" charset="2"/>
              <a:buChar char="q"/>
              <a:defRPr/>
            </a:pPr>
            <a:r>
              <a:rPr lang="en-ZA" dirty="0">
                <a:solidFill>
                  <a:prstClr val="black"/>
                </a:solidFill>
                <a:cs typeface="Arial" panose="020B0604020202020204" pitchFamily="34" charset="0"/>
              </a:rPr>
              <a:t>SARS YouTube channel: </a:t>
            </a:r>
            <a:r>
              <a:rPr lang="en-ZA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  <a:hlinkClick r:id="rId2"/>
              </a:rPr>
              <a:t>www.youtube.com</a:t>
            </a:r>
            <a:r>
              <a:rPr lang="en-ZA" dirty="0">
                <a:solidFill>
                  <a:srgbClr val="0070C0"/>
                </a:solidFill>
                <a:cs typeface="Arial" panose="020B0604020202020204" pitchFamily="34" charset="0"/>
                <a:hlinkClick r:id="rId2"/>
              </a:rPr>
              <a:t>/sarstv</a:t>
            </a:r>
            <a:endParaRPr lang="en-ZA" dirty="0">
              <a:solidFill>
                <a:srgbClr val="0070C0"/>
              </a:solidFill>
              <a:cs typeface="Arial" panose="020B0604020202020204" pitchFamily="34" charset="0"/>
            </a:endParaRPr>
          </a:p>
          <a:p>
            <a:pPr marL="285750" indent="-285750" fontAlgn="t">
              <a:buFont typeface="Wingdings" panose="05000000000000000000" pitchFamily="2" charset="2"/>
              <a:buChar char="q"/>
              <a:defRPr/>
            </a:pPr>
            <a:r>
              <a:rPr lang="en-ZA" dirty="0">
                <a:solidFill>
                  <a:prstClr val="black"/>
                </a:solidFill>
                <a:cs typeface="Arial" panose="020B0604020202020204" pitchFamily="34" charset="0"/>
              </a:rPr>
              <a:t>SARS website Customs &amp; Excise</a:t>
            </a:r>
            <a:r>
              <a:rPr lang="en-GB" dirty="0">
                <a:solidFill>
                  <a:srgbClr val="954F7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| </a:t>
            </a:r>
            <a:r>
              <a:rPr lang="en-GB" dirty="0">
                <a:solidFill>
                  <a:schemeClr val="accent1">
                    <a:lumMod val="75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th African Revenue Service (sars.gov.za)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 fontAlgn="t">
              <a:buFont typeface="Wingdings" panose="05000000000000000000" pitchFamily="2" charset="2"/>
              <a:buChar char="q"/>
              <a:defRPr/>
            </a:pPr>
            <a:r>
              <a:rPr lang="fr-FR" dirty="0">
                <a:solidFill>
                  <a:schemeClr val="tx1"/>
                </a:solidFill>
                <a:cs typeface="Arial" panose="020B0604020202020204" pitchFamily="34" charset="0"/>
                <a:hlinkClick r:id="rId4"/>
              </a:rPr>
              <a:t>AuthorisedEconomicOperator@sars.gov.za</a:t>
            </a:r>
            <a:endParaRPr lang="fr-FR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285750" indent="-285750" fontAlgn="t">
              <a:buFont typeface="Wingdings" panose="05000000000000000000" pitchFamily="2" charset="2"/>
              <a:buChar char="q"/>
              <a:defRPr/>
            </a:pPr>
            <a:r>
              <a:rPr lang="fr-FR" dirty="0">
                <a:solidFill>
                  <a:schemeClr val="tx1"/>
                </a:solidFill>
                <a:cs typeface="Arial" panose="020B0604020202020204" pitchFamily="34" charset="0"/>
              </a:rPr>
              <a:t>SARS Contact Centre on 0800 00 SARS (7277)</a:t>
            </a:r>
            <a:r>
              <a:rPr lang="en-GB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</a:p>
          <a:p>
            <a:pPr fontAlgn="t">
              <a:defRPr/>
            </a:pPr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fontAlgn="t">
              <a:buFont typeface="Wingdings" panose="05000000000000000000" pitchFamily="2" charset="2"/>
              <a:buChar char="q"/>
              <a:defRPr/>
            </a:pPr>
            <a:endParaRPr lang="en-ZA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46ECA3-8E28-4A42-A900-179F643A96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2376" y="1267959"/>
            <a:ext cx="3477970" cy="2545872"/>
          </a:xfrm>
          <a:prstGeom prst="rect">
            <a:avLst/>
          </a:prstGeom>
        </p:spPr>
      </p:pic>
      <p:sp>
        <p:nvSpPr>
          <p:cNvPr id="9" name="Shape">
            <a:extLst>
              <a:ext uri="{FF2B5EF4-FFF2-40B4-BE49-F238E27FC236}">
                <a16:creationId xmlns:a16="http://schemas.microsoft.com/office/drawing/2014/main" id="{E8AD19C5-2A76-44CE-9A3E-C21724945C5E}"/>
              </a:ext>
            </a:extLst>
          </p:cNvPr>
          <p:cNvSpPr/>
          <p:nvPr/>
        </p:nvSpPr>
        <p:spPr>
          <a:xfrm>
            <a:off x="4044176" y="3104536"/>
            <a:ext cx="346409" cy="3398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790" y="0"/>
                  <a:pt x="0" y="4917"/>
                  <a:pt x="0" y="10616"/>
                </a:cubicBezTo>
                <a:cubicBezTo>
                  <a:pt x="0" y="16729"/>
                  <a:pt x="4790" y="21600"/>
                  <a:pt x="10800" y="21600"/>
                </a:cubicBezTo>
                <a:cubicBezTo>
                  <a:pt x="16810" y="21600"/>
                  <a:pt x="21600" y="16729"/>
                  <a:pt x="21600" y="10616"/>
                </a:cubicBezTo>
                <a:cubicBezTo>
                  <a:pt x="21600" y="4917"/>
                  <a:pt x="16810" y="0"/>
                  <a:pt x="10800" y="0"/>
                </a:cubicBezTo>
                <a:close/>
                <a:moveTo>
                  <a:pt x="7998" y="15534"/>
                </a:moveTo>
                <a:cubicBezTo>
                  <a:pt x="6010" y="15534"/>
                  <a:pt x="6010" y="15534"/>
                  <a:pt x="6010" y="15534"/>
                </a:cubicBezTo>
                <a:cubicBezTo>
                  <a:pt x="6010" y="8180"/>
                  <a:pt x="6010" y="8180"/>
                  <a:pt x="6010" y="8180"/>
                </a:cubicBezTo>
                <a:cubicBezTo>
                  <a:pt x="7998" y="8180"/>
                  <a:pt x="7998" y="8180"/>
                  <a:pt x="7998" y="8180"/>
                </a:cubicBezTo>
                <a:lnTo>
                  <a:pt x="7998" y="15534"/>
                </a:lnTo>
                <a:close/>
                <a:moveTo>
                  <a:pt x="7185" y="7353"/>
                </a:moveTo>
                <a:cubicBezTo>
                  <a:pt x="6372" y="7353"/>
                  <a:pt x="6010" y="6940"/>
                  <a:pt x="6010" y="6158"/>
                </a:cubicBezTo>
                <a:cubicBezTo>
                  <a:pt x="6010" y="5745"/>
                  <a:pt x="6372" y="4917"/>
                  <a:pt x="7185" y="4917"/>
                </a:cubicBezTo>
                <a:cubicBezTo>
                  <a:pt x="7592" y="4917"/>
                  <a:pt x="7998" y="5745"/>
                  <a:pt x="8405" y="6158"/>
                </a:cubicBezTo>
                <a:cubicBezTo>
                  <a:pt x="8405" y="6940"/>
                  <a:pt x="7592" y="7353"/>
                  <a:pt x="7185" y="7353"/>
                </a:cubicBezTo>
                <a:close/>
                <a:moveTo>
                  <a:pt x="15997" y="15534"/>
                </a:moveTo>
                <a:cubicBezTo>
                  <a:pt x="14008" y="15534"/>
                  <a:pt x="14008" y="15534"/>
                  <a:pt x="14008" y="15534"/>
                </a:cubicBezTo>
                <a:cubicBezTo>
                  <a:pt x="14008" y="11443"/>
                  <a:pt x="14008" y="11443"/>
                  <a:pt x="14008" y="11443"/>
                </a:cubicBezTo>
                <a:cubicBezTo>
                  <a:pt x="14008" y="10616"/>
                  <a:pt x="13556" y="9789"/>
                  <a:pt x="12833" y="9789"/>
                </a:cubicBezTo>
                <a:cubicBezTo>
                  <a:pt x="12427" y="9789"/>
                  <a:pt x="11975" y="10203"/>
                  <a:pt x="11568" y="10616"/>
                </a:cubicBezTo>
                <a:lnTo>
                  <a:pt x="11568" y="11030"/>
                </a:lnTo>
                <a:cubicBezTo>
                  <a:pt x="11568" y="15534"/>
                  <a:pt x="11568" y="15534"/>
                  <a:pt x="11568" y="15534"/>
                </a:cubicBezTo>
                <a:cubicBezTo>
                  <a:pt x="9580" y="15534"/>
                  <a:pt x="9580" y="15534"/>
                  <a:pt x="9580" y="15534"/>
                </a:cubicBezTo>
                <a:cubicBezTo>
                  <a:pt x="9580" y="10616"/>
                  <a:pt x="9580" y="10616"/>
                  <a:pt x="9580" y="10616"/>
                </a:cubicBezTo>
                <a:cubicBezTo>
                  <a:pt x="9580" y="9421"/>
                  <a:pt x="9580" y="9008"/>
                  <a:pt x="9173" y="8180"/>
                </a:cubicBezTo>
                <a:cubicBezTo>
                  <a:pt x="11162" y="8180"/>
                  <a:pt x="11162" y="8180"/>
                  <a:pt x="11162" y="8180"/>
                </a:cubicBezTo>
                <a:cubicBezTo>
                  <a:pt x="11162" y="9008"/>
                  <a:pt x="11162" y="9008"/>
                  <a:pt x="11162" y="9008"/>
                </a:cubicBezTo>
                <a:cubicBezTo>
                  <a:pt x="11568" y="9008"/>
                  <a:pt x="11568" y="9008"/>
                  <a:pt x="11568" y="9008"/>
                </a:cubicBezTo>
                <a:cubicBezTo>
                  <a:pt x="11568" y="8594"/>
                  <a:pt x="12427" y="8180"/>
                  <a:pt x="13556" y="8180"/>
                </a:cubicBezTo>
                <a:cubicBezTo>
                  <a:pt x="15228" y="8180"/>
                  <a:pt x="15997" y="9008"/>
                  <a:pt x="15997" y="11030"/>
                </a:cubicBezTo>
                <a:lnTo>
                  <a:pt x="15997" y="15534"/>
                </a:lnTo>
                <a:close/>
              </a:path>
            </a:pathLst>
          </a:custGeom>
          <a:solidFill>
            <a:srgbClr val="002060"/>
          </a:solidFill>
          <a:ln w="12700">
            <a:miter lim="400000"/>
          </a:ln>
        </p:spPr>
        <p:txBody>
          <a:bodyPr lIns="60960" tIns="60960" rIns="60960" bIns="60960" anchor="ctr"/>
          <a:lstStyle/>
          <a:p>
            <a:pPr defTabSz="609600" hangingPunct="0">
              <a:defRPr/>
            </a:pPr>
            <a:endParaRPr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" name="Shape">
            <a:extLst>
              <a:ext uri="{FF2B5EF4-FFF2-40B4-BE49-F238E27FC236}">
                <a16:creationId xmlns:a16="http://schemas.microsoft.com/office/drawing/2014/main" id="{448760D3-6C2E-48EF-ACCD-B40EDD40BD2A}"/>
              </a:ext>
            </a:extLst>
          </p:cNvPr>
          <p:cNvSpPr/>
          <p:nvPr/>
        </p:nvSpPr>
        <p:spPr>
          <a:xfrm>
            <a:off x="4037879" y="3638124"/>
            <a:ext cx="346409" cy="3421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45" y="0"/>
                </a:moveTo>
                <a:cubicBezTo>
                  <a:pt x="4790" y="0"/>
                  <a:pt x="0" y="4917"/>
                  <a:pt x="0" y="10616"/>
                </a:cubicBezTo>
                <a:cubicBezTo>
                  <a:pt x="0" y="16683"/>
                  <a:pt x="4790" y="21600"/>
                  <a:pt x="10845" y="21600"/>
                </a:cubicBezTo>
                <a:cubicBezTo>
                  <a:pt x="16810" y="21600"/>
                  <a:pt x="21600" y="16683"/>
                  <a:pt x="21600" y="10616"/>
                </a:cubicBezTo>
                <a:cubicBezTo>
                  <a:pt x="21600" y="4917"/>
                  <a:pt x="16810" y="0"/>
                  <a:pt x="10845" y="0"/>
                </a:cubicBezTo>
                <a:close/>
                <a:moveTo>
                  <a:pt x="13240" y="7353"/>
                </a:moveTo>
                <a:cubicBezTo>
                  <a:pt x="11613" y="7353"/>
                  <a:pt x="11613" y="7353"/>
                  <a:pt x="11613" y="7353"/>
                </a:cubicBezTo>
                <a:cubicBezTo>
                  <a:pt x="11613" y="7353"/>
                  <a:pt x="11252" y="7767"/>
                  <a:pt x="11252" y="8180"/>
                </a:cubicBezTo>
                <a:cubicBezTo>
                  <a:pt x="11252" y="8962"/>
                  <a:pt x="11252" y="8962"/>
                  <a:pt x="11252" y="8962"/>
                </a:cubicBezTo>
                <a:cubicBezTo>
                  <a:pt x="13240" y="8962"/>
                  <a:pt x="13240" y="8962"/>
                  <a:pt x="13240" y="8962"/>
                </a:cubicBezTo>
                <a:cubicBezTo>
                  <a:pt x="13240" y="11030"/>
                  <a:pt x="13240" y="11030"/>
                  <a:pt x="13240" y="11030"/>
                </a:cubicBezTo>
                <a:cubicBezTo>
                  <a:pt x="11252" y="11030"/>
                  <a:pt x="11252" y="11030"/>
                  <a:pt x="11252" y="11030"/>
                </a:cubicBezTo>
                <a:cubicBezTo>
                  <a:pt x="11252" y="15901"/>
                  <a:pt x="11252" y="15901"/>
                  <a:pt x="11252" y="15901"/>
                </a:cubicBezTo>
                <a:cubicBezTo>
                  <a:pt x="9625" y="15901"/>
                  <a:pt x="9625" y="15901"/>
                  <a:pt x="9625" y="15901"/>
                </a:cubicBezTo>
                <a:cubicBezTo>
                  <a:pt x="9625" y="11030"/>
                  <a:pt x="9625" y="11030"/>
                  <a:pt x="9625" y="11030"/>
                </a:cubicBezTo>
                <a:cubicBezTo>
                  <a:pt x="7637" y="11030"/>
                  <a:pt x="7637" y="11030"/>
                  <a:pt x="7637" y="11030"/>
                </a:cubicBezTo>
                <a:cubicBezTo>
                  <a:pt x="7637" y="8962"/>
                  <a:pt x="7637" y="8962"/>
                  <a:pt x="7637" y="8962"/>
                </a:cubicBezTo>
                <a:cubicBezTo>
                  <a:pt x="9625" y="8962"/>
                  <a:pt x="9625" y="8962"/>
                  <a:pt x="9625" y="8962"/>
                </a:cubicBezTo>
                <a:cubicBezTo>
                  <a:pt x="9625" y="8180"/>
                  <a:pt x="9625" y="8180"/>
                  <a:pt x="9625" y="8180"/>
                </a:cubicBezTo>
                <a:cubicBezTo>
                  <a:pt x="9625" y="6940"/>
                  <a:pt x="10393" y="5745"/>
                  <a:pt x="11613" y="5745"/>
                </a:cubicBezTo>
                <a:cubicBezTo>
                  <a:pt x="13240" y="5745"/>
                  <a:pt x="13240" y="5745"/>
                  <a:pt x="13240" y="5745"/>
                </a:cubicBezTo>
                <a:lnTo>
                  <a:pt x="13240" y="7353"/>
                </a:lnTo>
                <a:close/>
              </a:path>
            </a:pathLst>
          </a:custGeom>
          <a:solidFill>
            <a:srgbClr val="002060"/>
          </a:solidFill>
          <a:ln w="12700">
            <a:miter lim="400000"/>
          </a:ln>
        </p:spPr>
        <p:txBody>
          <a:bodyPr lIns="60960" tIns="60960" rIns="60960" bIns="60960" anchor="ctr"/>
          <a:lstStyle/>
          <a:p>
            <a:pPr defTabSz="609600" hangingPunct="0">
              <a:defRPr/>
            </a:pPr>
            <a:endParaRPr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pic>
        <p:nvPicPr>
          <p:cNvPr id="2" name="Picture 1" descr="Musk unveils new name, logo for Twitter">
            <a:extLst>
              <a:ext uri="{FF2B5EF4-FFF2-40B4-BE49-F238E27FC236}">
                <a16:creationId xmlns:a16="http://schemas.microsoft.com/office/drawing/2014/main" id="{497B0D4E-7D24-C599-F4A2-7AFAE58F05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4037879" y="4217003"/>
            <a:ext cx="335807" cy="335807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393D8228-463E-9618-BC63-9C3C11F6B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93923"/>
            <a:ext cx="2984303" cy="532606"/>
          </a:xfr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/>
              <a:t>Go Digital</a:t>
            </a:r>
          </a:p>
        </p:txBody>
      </p:sp>
    </p:spTree>
    <p:extLst>
      <p:ext uri="{BB962C8B-B14F-4D97-AF65-F5344CB8AC3E}">
        <p14:creationId xmlns:p14="http://schemas.microsoft.com/office/powerpoint/2010/main" val="32178571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84154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RS Plain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S-COMMS-01-A34 - PowerPoint Presentation Template Colour - Internal Template [Read-Only]" id="{F5F07BA2-6F09-4D1A-9896-C7DF37BF1BDE}" vid="{36710342-CACC-4CFB-8E97-8C7C4669FE15}"/>
    </a:ext>
  </a:extLst>
</a:theme>
</file>

<file path=ppt/theme/theme2.xml><?xml version="1.0" encoding="utf-8"?>
<a:theme xmlns:a="http://schemas.openxmlformats.org/drawingml/2006/main" name="1_Corporate Identity presentation_MANCO_2017 v1.3 S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5606_SARS_PLAIN_PPT.pptx" id="{6DB6358A-5B68-E44E-AD01-63344069B75A}" vid="{702AC70A-0333-DF4E-AA47-865E57494EED}"/>
    </a:ext>
  </a:extLst>
</a:theme>
</file>

<file path=ppt/theme/theme3.xml><?xml version="1.0" encoding="utf-8"?>
<a:theme xmlns:a="http://schemas.openxmlformats.org/drawingml/2006/main" name="2_Corporate Identity presentation_MANCO_2017 v1.3 S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5606_SARS_PLAIN_PPT.pptx" id="{6DB6358A-5B68-E44E-AD01-63344069B75A}" vid="{702AC70A-0333-DF4E-AA47-865E57494EE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3B6224A52D764C9D4FB6141412F07D" ma:contentTypeVersion="15" ma:contentTypeDescription="Create a new document." ma:contentTypeScope="" ma:versionID="4cd2ef460b29c7401582795b4c2cc908">
  <xsd:schema xmlns:xsd="http://www.w3.org/2001/XMLSchema" xmlns:xs="http://www.w3.org/2001/XMLSchema" xmlns:p="http://schemas.microsoft.com/office/2006/metadata/properties" xmlns:ns3="e9baad5a-b100-44bc-92aa-58ae589b108d" xmlns:ns4="641635eb-441f-443c-9148-b5b867b81d61" targetNamespace="http://schemas.microsoft.com/office/2006/metadata/properties" ma:root="true" ma:fieldsID="b873905f254dc2debf47d9a1ed845a6e" ns3:_="" ns4:_="">
    <xsd:import namespace="e9baad5a-b100-44bc-92aa-58ae589b108d"/>
    <xsd:import namespace="641635eb-441f-443c-9148-b5b867b81d6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LengthInSeconds" minOccurs="0"/>
                <xsd:element ref="ns3:_activity" minOccurs="0"/>
                <xsd:element ref="ns3:MediaServiceObjectDetectorVersions" minOccurs="0"/>
                <xsd:element ref="ns3:MediaServiceGenerationTime" minOccurs="0"/>
                <xsd:element ref="ns3:MediaServiceEventHashCode" minOccurs="0"/>
                <xsd:element ref="ns3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baad5a-b100-44bc-92aa-58ae589b108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8" nillable="true" ma:displayName="_activity" ma:hidden="true" ma:internalName="_activity">
      <xsd:simpleType>
        <xsd:restriction base="dms:Note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1635eb-441f-443c-9148-b5b867b81d6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e9baad5a-b100-44bc-92aa-58ae589b108d" xsi:nil="true"/>
  </documentManagement>
</p:properties>
</file>

<file path=customXml/itemProps1.xml><?xml version="1.0" encoding="utf-8"?>
<ds:datastoreItem xmlns:ds="http://schemas.openxmlformats.org/officeDocument/2006/customXml" ds:itemID="{6B15D6E1-4683-4437-8DB0-98FDF3AAC56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AFFAF8B-3BF5-4D0A-B585-12101CC0C2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9baad5a-b100-44bc-92aa-58ae589b108d"/>
    <ds:schemaRef ds:uri="641635eb-441f-443c-9148-b5b867b81d6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D7189B5-2648-4AEE-AD49-11DB9E228CCA}">
  <ds:schemaRefs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641635eb-441f-443c-9148-b5b867b81d61"/>
    <ds:schemaRef ds:uri="http://purl.org/dc/terms/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elements/1.1/"/>
    <ds:schemaRef ds:uri="e9baad5a-b100-44bc-92aa-58ae589b108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36</TotalTime>
  <Words>316</Words>
  <Application>Microsoft Office PowerPoint</Application>
  <PresentationFormat>Widescreen</PresentationFormat>
  <Paragraphs>85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 arial heading</vt:lpstr>
      <vt:lpstr>Arial</vt:lpstr>
      <vt:lpstr>Calibri</vt:lpstr>
      <vt:lpstr>MTN Brighter Sans Light</vt:lpstr>
      <vt:lpstr>Wingdings</vt:lpstr>
      <vt:lpstr>SARS Plain Theme</vt:lpstr>
      <vt:lpstr>1_Corporate Identity presentation_MANCO_2017 v1.3 SR</vt:lpstr>
      <vt:lpstr>2_Corporate Identity presentation_MANCO_2017 v1.3 SR</vt:lpstr>
      <vt:lpstr>think-cell Slide</vt:lpstr>
      <vt:lpstr>PowerPoint Presentation</vt:lpstr>
      <vt:lpstr>Strategic Objectives </vt:lpstr>
      <vt:lpstr>Rational</vt:lpstr>
      <vt:lpstr>PowerPoint Presentation</vt:lpstr>
      <vt:lpstr>RLA On AEO Application Benefits</vt:lpstr>
      <vt:lpstr>Transitional Arrangements</vt:lpstr>
      <vt:lpstr>Go Digital</vt:lpstr>
      <vt:lpstr>PowerPoint Presentation</vt:lpstr>
    </vt:vector>
  </TitlesOfParts>
  <Company>SA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nette Smit</dc:creator>
  <cp:lastModifiedBy>Nadine Muteba</cp:lastModifiedBy>
  <cp:revision>220</cp:revision>
  <dcterms:created xsi:type="dcterms:W3CDTF">2020-10-26T10:29:47Z</dcterms:created>
  <dcterms:modified xsi:type="dcterms:W3CDTF">2023-11-29T11:15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ARS SuppServ Keywords">
    <vt:lpwstr>1889;#communications|99f118ec-bc8c-499e-90c2-01975f38d542</vt:lpwstr>
  </property>
  <property fmtid="{D5CDD505-2E9C-101B-9397-08002B2CF9AE}" pid="3" name="_dlc_DocIdItemGuid">
    <vt:lpwstr>01fcc747-a606-46a4-8e4a-8685e5a3a6df</vt:lpwstr>
  </property>
  <property fmtid="{D5CDD505-2E9C-101B-9397-08002B2CF9AE}" pid="4" name="ContentTypeId">
    <vt:lpwstr>0x010100A43B6224A52D764C9D4FB6141412F07D</vt:lpwstr>
  </property>
  <property fmtid="{D5CDD505-2E9C-101B-9397-08002B2CF9AE}" pid="5" name="Place in SuppServ Navigation">
    <vt:lpwstr>437;#Templates|96ae83d5-f382-4cf1-bc86-07a513ddb63f;#219;#Communications|3c756d88-285d-44dd-96f1-e21f6ca0e654</vt:lpwstr>
  </property>
  <property fmtid="{D5CDD505-2E9C-101B-9397-08002B2CF9AE}" pid="6" name="SARS SuppServ Function">
    <vt:lpwstr>1884;#Communications|2b378cf1-a46b-45a4-b05e-8c7d84352a5f</vt:lpwstr>
  </property>
  <property fmtid="{D5CDD505-2E9C-101B-9397-08002B2CF9AE}" pid="7" name="SARS SuppServ Function0">
    <vt:lpwstr>1884;#Communications|2b378cf1-a46b-45a4-b05e-8c7d84352a5f</vt:lpwstr>
  </property>
  <property fmtid="{D5CDD505-2E9C-101B-9397-08002B2CF9AE}" pid="8" name="Order">
    <vt:r8>7500</vt:r8>
  </property>
  <property fmtid="{D5CDD505-2E9C-101B-9397-08002B2CF9AE}" pid="9" name="xd_ProgID">
    <vt:lpwstr/>
  </property>
  <property fmtid="{D5CDD505-2E9C-101B-9397-08002B2CF9AE}" pid="10" name="_CopySource">
    <vt:lpwstr>http://sarsportal/ProdQMS/Supp/SARS SuppServ Doc Router/COMMS-CI-01-T45 - PowerPoint Presentation Template Colour - Internal Template.potx</vt:lpwstr>
  </property>
  <property fmtid="{D5CDD505-2E9C-101B-9397-08002B2CF9AE}" pid="11" name="TemplateUrl">
    <vt:lpwstr/>
  </property>
  <property fmtid="{D5CDD505-2E9C-101B-9397-08002B2CF9AE}" pid="12" name="Synopsis">
    <vt:lpwstr/>
  </property>
  <property fmtid="{D5CDD505-2E9C-101B-9397-08002B2CF9AE}" pid="13" name="Applicable Year">
    <vt:lpwstr/>
  </property>
  <property fmtid="{D5CDD505-2E9C-101B-9397-08002B2CF9AE}" pid="14" name="Tender Type">
    <vt:lpwstr/>
  </property>
  <property fmtid="{D5CDD505-2E9C-101B-9397-08002B2CF9AE}" pid="15" name="Tender Number">
    <vt:lpwstr/>
  </property>
  <property fmtid="{D5CDD505-2E9C-101B-9397-08002B2CF9AE}" pid="16" name="Scam Institution">
    <vt:lpwstr/>
  </property>
  <property fmtid="{D5CDD505-2E9C-101B-9397-08002B2CF9AE}" pid="17" name="Tender Doc Type">
    <vt:lpwstr/>
  </property>
  <property fmtid="{D5CDD505-2E9C-101B-9397-08002B2CF9AE}" pid="18" name="Scam Subject">
    <vt:lpwstr/>
  </property>
  <property fmtid="{D5CDD505-2E9C-101B-9397-08002B2CF9AE}" pid="19" name="Scam Source">
    <vt:lpwstr/>
  </property>
  <property fmtid="{D5CDD505-2E9C-101B-9397-08002B2CF9AE}" pid="20" name="_dlc_policyId">
    <vt:lpwstr/>
  </property>
  <property fmtid="{D5CDD505-2E9C-101B-9397-08002B2CF9AE}" pid="21" name="ItemRetentionFormula">
    <vt:lpwstr/>
  </property>
</Properties>
</file>